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3.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4.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5.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8.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50" r:id="rId5"/>
    <p:sldMasterId id="2147483838" r:id="rId6"/>
    <p:sldMasterId id="2147483868" r:id="rId7"/>
    <p:sldMasterId id="2147483944" r:id="rId8"/>
    <p:sldMasterId id="2147483979" r:id="rId9"/>
    <p:sldMasterId id="2147484022" r:id="rId10"/>
    <p:sldMasterId id="2147484040" r:id="rId11"/>
    <p:sldMasterId id="2147484081" r:id="rId12"/>
  </p:sldMasterIdLst>
  <p:notesMasterIdLst>
    <p:notesMasterId r:id="rId28"/>
  </p:notesMasterIdLst>
  <p:sldIdLst>
    <p:sldId id="1720" r:id="rId13"/>
    <p:sldId id="322" r:id="rId14"/>
    <p:sldId id="284" r:id="rId15"/>
    <p:sldId id="266" r:id="rId16"/>
    <p:sldId id="265" r:id="rId17"/>
    <p:sldId id="2147483546" r:id="rId18"/>
    <p:sldId id="326" r:id="rId19"/>
    <p:sldId id="318" r:id="rId20"/>
    <p:sldId id="256" r:id="rId21"/>
    <p:sldId id="259" r:id="rId22"/>
    <p:sldId id="302" r:id="rId23"/>
    <p:sldId id="261" r:id="rId24"/>
    <p:sldId id="342" r:id="rId25"/>
    <p:sldId id="2147483647" r:id="rId26"/>
    <p:sldId id="303"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295F1B5-8167-40A0-9C83-92F7A756155F}">
          <p14:sldIdLst>
            <p14:sldId id="1720"/>
            <p14:sldId id="322"/>
          </p14:sldIdLst>
        </p14:section>
        <p14:section name="Overview" id="{B859648D-D934-437A-814E-62FD0BC59300}">
          <p14:sldIdLst>
            <p14:sldId id="284"/>
            <p14:sldId id="266"/>
            <p14:sldId id="265"/>
            <p14:sldId id="2147483546"/>
          </p14:sldIdLst>
        </p14:section>
        <p14:section name="Agent 365" id="{A48820F5-9C47-4DF1-8043-17A5423A2282}">
          <p14:sldIdLst>
            <p14:sldId id="326"/>
            <p14:sldId id="318"/>
            <p14:sldId id="256"/>
            <p14:sldId id="259"/>
            <p14:sldId id="302"/>
          </p14:sldIdLst>
        </p14:section>
        <p14:section name="Governance Controls" id="{3B4DB346-07D3-452E-8C87-B0ABF227BE22}">
          <p14:sldIdLst/>
        </p14:section>
        <p14:section name="Demos" id="{43D1CADA-E8D7-494E-96D9-9488C58921AC}">
          <p14:sldIdLst/>
        </p14:section>
        <p14:section name="Data Protection" id="{0AEC5EB2-F14A-4A74-B397-4BD8727C9EE6}">
          <p14:sldIdLst>
            <p14:sldId id="261"/>
          </p14:sldIdLst>
        </p14:section>
        <p14:section name="Monitoring &amp; Reporting" id="{BDBB8671-7188-4C20-A568-57AF69A9D9A8}">
          <p14:sldIdLst>
            <p14:sldId id="342"/>
            <p14:sldId id="2147483647"/>
          </p14:sldIdLst>
        </p14:section>
        <p14:section name="Demos Wallk Through" id="{420B345D-95F3-44ED-BDF2-924841CF6BDE}">
          <p14:sldIdLst/>
        </p14:section>
        <p14:section name="Q&amp;A" id="{5FE4847B-DE27-4288-979F-4B61B0578A25}">
          <p14:sldIdLst>
            <p14:sldId id="303"/>
          </p14:sldIdLst>
        </p14:section>
      </p14:sectionLst>
    </p:ex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CB2600-BEBD-DB7B-F913-959F91FFA422}" name="Sean Fiene" initials="SF" userId="S::seanfiene@microsoft.com::4e93721e-9760-4562-ba01-623efeab82b4" providerId="AD"/>
  <p188:author id="{6CD43406-CA54-AAFE-918E-DE5E08F80856}" name="Iman Boukly" initials="IB" userId="S::imanbo@microsoft.com::ae6a6284-fb04-4a2f-a0e2-33102a430e92" providerId="AD"/>
  <p188:author id="{EED93C06-6FBA-8CA4-1F26-A3DB0B570C46}" name="Irina Nechaeva" initials="IN" userId="S::nechaeva@microsoft.com::d3a725e3-8a82-4f2a-a1a4-5e27f82e1b20" providerId="AD"/>
  <p188:author id="{68F95D0D-0218-923E-ABAD-EC4D73DDC450}" name="Scott Adams" initials="SA" userId="S::scadam@microsoft.com::2e0bb53a-50f4-4ef4-b3ed-4327e607901e" providerId="AD"/>
  <p188:author id="{5F0FAD1C-6E7B-E47A-4E30-B07C3CBE20EF}" name="Shreesh babu Thassu Srinivasan" initials="ST" userId="S::shreeshbabut@microsoft.com::e29862a3-c20f-4cc5-a7c7-c42f68ae3bb1" providerId="AD"/>
  <p188:author id="{0531392E-A5DF-BBF0-70C7-610272F7DC87}" name="Jyoti Rathod" initials="" userId="S::jyrathod@microsoft.com::9b91ecaf-5f8a-4a12-a9c9-51a52c265f69" providerId="AD"/>
  <p188:author id="{5E98544A-6BB2-702B-1814-44F3D6513A6B}" name="Raghav BN" initials="RB" userId="S::rananjai@microsoft.com::00416034-07a8-4594-b796-523d61f57b17" providerId="AD"/>
  <p188:author id="{C67D584A-1E98-17F3-56EA-AD4D026AF9D9}" name="Ken Young" initials="KY" userId="S::kenyoun@microsoft.com::581544e3-f76f-46f0-b74d-165a39e56b95" providerId="AD"/>
  <p188:author id="{1B40CC4C-B8F0-512F-B131-C70E6CB5625B}" name="Kartik Sachdev" initials="KS" userId="S::ksachdev@microsoft.com::36498340-ad6d-4fb8-89f5-7d1f3fd3d8ef" providerId="AD"/>
  <p188:author id="{2B1AD750-4ABE-A034-94AB-2E42DAC48838}" name="Paul Graf" initials="PG" userId="S::paulgraf@microsoft.com::48c1a0d4-0033-4b8f-8b47-58ec6312c652" providerId="AD"/>
  <p188:author id="{4A5FC160-FF3A-6142-0667-A34C6318CB7D}" name="Prateek Sharma" initials="PS" userId="S::pratsha@microsoft.com::6ea6d340-28f5-423f-a992-a63354e0472c" providerId="AD"/>
  <p188:author id="{8CFC8C62-E263-D807-F2FE-443F75C6FDFB}" name="Freada Sylvester" initials="FS" userId="S::freadas@microsoft.com::db4dc955-ec8f-449f-92c7-1ee80f3feeba" providerId="AD"/>
  <p188:author id="{D6F26963-7D31-7E94-BDCA-0053EED9EF82}" name="Leslie Overland" initials="LO" userId="S::leoverla@microsoft.com::f3978a41-ce7f-4ee8-a07a-b9255d9fc7c0" providerId="AD"/>
  <p188:author id="{22E50E6F-EAA7-12AE-CA17-D9B6D1923892}" name="Pamela Martinez" initials="PM" userId="S::pamarti@microsoft.com::b39a542b-fbf5-4fb1-9883-c294c7e3214e" providerId="AD"/>
  <p188:author id="{688B5484-9054-7E36-3038-E1F1B61C6574}" name="Mike Francis" initials="mjf" userId="Mike Francis" providerId="None"/>
  <p188:author id="{EB743598-6934-A9A6-5B2F-292910E40ACC}" name="Pete Puustinen" initials="PP" userId="S::petrip@microsoft.com::afdc5376-b007-4d8e-9c19-07b3fbb81413" providerId="AD"/>
  <p188:author id="{029BBA9C-7C8E-D4FC-419B-D07A082BA1CE}" name="Tina Ying" initials="TY" userId="S::juying@microsoft.com::1da9fe39-9117-4426-a723-84e692e91d64" providerId="AD"/>
  <p188:author id="{BDFC109E-D8F3-207E-9B38-00D8CC37E15C}" name="Vas Perchuk" initials="VP" userId="S::vaperch@microsoft.com::5d870c6a-26e6-414f-bc4a-7e92eab2efa3" providerId="AD"/>
  <p188:author id="{272C96AB-DF7A-A9B8-E8D7-48AA065863EA}" name="Betsy Linares" initials="" userId="S::betsylinares@microsoft.com::86f1bcd2-9700-40d1-94df-cb60f6d45b45" providerId="AD"/>
  <p188:author id="{47384EAC-2FA4-89D0-03C9-C7530CE5B70B}" name="Mini Kaushik" initials="MK" userId="S::minikaushik@microsoft.com::79bf9a00-36c8-4183-89db-9ae020466ee3" providerId="AD"/>
  <p188:author id="{F7817CB4-C1FC-07B0-08A7-4802814EC0F0}" name="Alex Pozin" initials="AP" userId="S::alexpozin@microsoft.com::41364d21-b8fe-4f09-9e65-a310296a1330" providerId="AD"/>
  <p188:author id="{3A8526B5-0368-298F-90E8-91BD51925C6D}" name="Niranjan Deo" initials="ND" userId="S::nideo@microsoft.com::3dd48659-d0d4-4a4b-a14a-cc4202f2b8d5" providerId="AD"/>
  <p188:author id="{9DAEABB8-2A5D-94F8-4A96-A46AC652DE54}" name="Brett Johnson (GBB)" initials="B(" userId="S::brettjo@microsoft.com::ad51252c-820d-4333-9a8a-f9ef3b7ff2e6" providerId="AD"/>
  <p188:author id="{514745C9-8468-25A6-E629-7E663B165728}" name="Mike Francis" initials="MF" userId="S::mikefra@microsoft.com::58e9079c-77fa-4c82-a899-d325ec6534bb" providerId="AD"/>
  <p188:author id="{D692B6D8-FF00-2ACC-F9EE-6B79EDFE8A98}" name="Suzanna Zhuang" initials="SZ" userId="S::suzanz@microsoft.com::636c2c54-daab-484b-b682-88e556929dfe" providerId="AD"/>
  <p188:author id="{1932F9E0-88BF-8F93-08A7-22E33C62B221}" name="Matteo Pagani" initials="MP" userId="S::mpagani@microsoft.com::33f58c04-96ec-4aef-881b-71cb7a2868be" providerId="AD"/>
  <p188:author id="{142302F0-0288-AC91-C99B-02A79A0961E2}" name="Cristiana Lucaci" initials="CL" userId="S::crlucaci@microsoft.com::35d81e72-577d-4860-bf7b-b84bfcf16e91" providerId="AD"/>
  <p188:author id="{5DE414F5-FAE0-8244-5198-6E53463FAAC6}" name="Emily Sterken" initials="ES" userId="S::emilysterken@microsoft.com::8ff18eff-b6ce-4996-86db-74196c43104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168D0"/>
    <a:srgbClr val="BB3CC4"/>
    <a:srgbClr val="118F96"/>
    <a:srgbClr val="FD573C"/>
    <a:srgbClr val="D83B0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EAB88C-738D-40E7-96D1-6BC06E9FBD70}" v="2" dt="2026-01-18T15:55:34.9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364" autoAdjust="0"/>
  </p:normalViewPr>
  <p:slideViewPr>
    <p:cSldViewPr snapToGrid="0">
      <p:cViewPr varScale="1">
        <p:scale>
          <a:sx n="84" d="100"/>
          <a:sy n="84" d="100"/>
        </p:scale>
        <p:origin x="3706" y="288"/>
      </p:cViewPr>
      <p:guideLst>
        <p:guide orient="horz" pos="2137"/>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yed Ali" userId="9f33ec35-7e0c-48a3-b7c5-b81316096e24" providerId="ADAL" clId="{C269B9B6-4BFF-441B-848A-444E43AB9315}"/>
    <pc:docChg chg="addSld delSld modSld delMainMaster modSection">
      <pc:chgData name="Sayed Ali" userId="9f33ec35-7e0c-48a3-b7c5-b81316096e24" providerId="ADAL" clId="{C269B9B6-4BFF-441B-848A-444E43AB9315}" dt="2026-01-18T16:38:12.605" v="170" actId="47"/>
      <pc:docMkLst>
        <pc:docMk/>
      </pc:docMkLst>
      <pc:sldChg chg="del">
        <pc:chgData name="Sayed Ali" userId="9f33ec35-7e0c-48a3-b7c5-b81316096e24" providerId="ADAL" clId="{C269B9B6-4BFF-441B-848A-444E43AB9315}" dt="2026-01-18T16:35:08.572" v="117" actId="47"/>
        <pc:sldMkLst>
          <pc:docMk/>
          <pc:sldMk cId="2938162294" sldId="257"/>
        </pc:sldMkLst>
      </pc:sldChg>
      <pc:sldChg chg="del">
        <pc:chgData name="Sayed Ali" userId="9f33ec35-7e0c-48a3-b7c5-b81316096e24" providerId="ADAL" clId="{C269B9B6-4BFF-441B-848A-444E43AB9315}" dt="2026-01-18T16:35:14.593" v="123" actId="47"/>
        <pc:sldMkLst>
          <pc:docMk/>
          <pc:sldMk cId="3303822890" sldId="258"/>
        </pc:sldMkLst>
      </pc:sldChg>
      <pc:sldChg chg="del">
        <pc:chgData name="Sayed Ali" userId="9f33ec35-7e0c-48a3-b7c5-b81316096e24" providerId="ADAL" clId="{C269B9B6-4BFF-441B-848A-444E43AB9315}" dt="2026-01-18T16:35:06.558" v="115" actId="47"/>
        <pc:sldMkLst>
          <pc:docMk/>
          <pc:sldMk cId="901628139" sldId="260"/>
        </pc:sldMkLst>
      </pc:sldChg>
      <pc:sldChg chg="del">
        <pc:chgData name="Sayed Ali" userId="9f33ec35-7e0c-48a3-b7c5-b81316096e24" providerId="ADAL" clId="{C269B9B6-4BFF-441B-848A-444E43AB9315}" dt="2026-01-18T16:37:20.034" v="164" actId="47"/>
        <pc:sldMkLst>
          <pc:docMk/>
          <pc:sldMk cId="3454185859" sldId="262"/>
        </pc:sldMkLst>
      </pc:sldChg>
      <pc:sldChg chg="del">
        <pc:chgData name="Sayed Ali" userId="9f33ec35-7e0c-48a3-b7c5-b81316096e24" providerId="ADAL" clId="{C269B9B6-4BFF-441B-848A-444E43AB9315}" dt="2026-01-18T16:38:10.533" v="169" actId="47"/>
        <pc:sldMkLst>
          <pc:docMk/>
          <pc:sldMk cId="4151100775" sldId="263"/>
        </pc:sldMkLst>
      </pc:sldChg>
      <pc:sldChg chg="del">
        <pc:chgData name="Sayed Ali" userId="9f33ec35-7e0c-48a3-b7c5-b81316096e24" providerId="ADAL" clId="{C269B9B6-4BFF-441B-848A-444E43AB9315}" dt="2026-01-18T16:36:56.292" v="151" actId="47"/>
        <pc:sldMkLst>
          <pc:docMk/>
          <pc:sldMk cId="61654608" sldId="264"/>
        </pc:sldMkLst>
      </pc:sldChg>
      <pc:sldChg chg="del">
        <pc:chgData name="Sayed Ali" userId="9f33ec35-7e0c-48a3-b7c5-b81316096e24" providerId="ADAL" clId="{C269B9B6-4BFF-441B-848A-444E43AB9315}" dt="2026-01-18T16:35:17.788" v="139" actId="47"/>
        <pc:sldMkLst>
          <pc:docMk/>
          <pc:sldMk cId="1205387476" sldId="267"/>
        </pc:sldMkLst>
      </pc:sldChg>
      <pc:sldChg chg="del">
        <pc:chgData name="Sayed Ali" userId="9f33ec35-7e0c-48a3-b7c5-b81316096e24" providerId="ADAL" clId="{C269B9B6-4BFF-441B-848A-444E43AB9315}" dt="2026-01-18T16:35:17.906" v="141" actId="47"/>
        <pc:sldMkLst>
          <pc:docMk/>
          <pc:sldMk cId="1111587597" sldId="268"/>
        </pc:sldMkLst>
      </pc:sldChg>
      <pc:sldChg chg="del">
        <pc:chgData name="Sayed Ali" userId="9f33ec35-7e0c-48a3-b7c5-b81316096e24" providerId="ADAL" clId="{C269B9B6-4BFF-441B-848A-444E43AB9315}" dt="2026-01-18T16:35:14.864" v="124" actId="47"/>
        <pc:sldMkLst>
          <pc:docMk/>
          <pc:sldMk cId="2370547121" sldId="269"/>
        </pc:sldMkLst>
      </pc:sldChg>
      <pc:sldChg chg="del">
        <pc:chgData name="Sayed Ali" userId="9f33ec35-7e0c-48a3-b7c5-b81316096e24" providerId="ADAL" clId="{C269B9B6-4BFF-441B-848A-444E43AB9315}" dt="2026-01-18T16:35:15.179" v="125" actId="47"/>
        <pc:sldMkLst>
          <pc:docMk/>
          <pc:sldMk cId="786418642" sldId="270"/>
        </pc:sldMkLst>
      </pc:sldChg>
      <pc:sldChg chg="del">
        <pc:chgData name="Sayed Ali" userId="9f33ec35-7e0c-48a3-b7c5-b81316096e24" providerId="ADAL" clId="{C269B9B6-4BFF-441B-848A-444E43AB9315}" dt="2026-01-18T16:34:13.648" v="102" actId="47"/>
        <pc:sldMkLst>
          <pc:docMk/>
          <pc:sldMk cId="2448315509" sldId="271"/>
        </pc:sldMkLst>
      </pc:sldChg>
      <pc:sldChg chg="del">
        <pc:chgData name="Sayed Ali" userId="9f33ec35-7e0c-48a3-b7c5-b81316096e24" providerId="ADAL" clId="{C269B9B6-4BFF-441B-848A-444E43AB9315}" dt="2026-01-18T16:36:42.069" v="145" actId="47"/>
        <pc:sldMkLst>
          <pc:docMk/>
          <pc:sldMk cId="1038816522" sldId="272"/>
        </pc:sldMkLst>
      </pc:sldChg>
      <pc:sldChg chg="del">
        <pc:chgData name="Sayed Ali" userId="9f33ec35-7e0c-48a3-b7c5-b81316096e24" providerId="ADAL" clId="{C269B9B6-4BFF-441B-848A-444E43AB9315}" dt="2026-01-18T16:35:21.035" v="143" actId="47"/>
        <pc:sldMkLst>
          <pc:docMk/>
          <pc:sldMk cId="4130046237" sldId="273"/>
        </pc:sldMkLst>
      </pc:sldChg>
      <pc:sldChg chg="del">
        <pc:chgData name="Sayed Ali" userId="9f33ec35-7e0c-48a3-b7c5-b81316096e24" providerId="ADAL" clId="{C269B9B6-4BFF-441B-848A-444E43AB9315}" dt="2026-01-18T16:37:09.300" v="158" actId="47"/>
        <pc:sldMkLst>
          <pc:docMk/>
          <pc:sldMk cId="3357377210" sldId="274"/>
        </pc:sldMkLst>
      </pc:sldChg>
      <pc:sldChg chg="del">
        <pc:chgData name="Sayed Ali" userId="9f33ec35-7e0c-48a3-b7c5-b81316096e24" providerId="ADAL" clId="{C269B9B6-4BFF-441B-848A-444E43AB9315}" dt="2026-01-18T16:35:17.701" v="138" actId="47"/>
        <pc:sldMkLst>
          <pc:docMk/>
          <pc:sldMk cId="3425164741" sldId="275"/>
        </pc:sldMkLst>
      </pc:sldChg>
      <pc:sldChg chg="del">
        <pc:chgData name="Sayed Ali" userId="9f33ec35-7e0c-48a3-b7c5-b81316096e24" providerId="ADAL" clId="{C269B9B6-4BFF-441B-848A-444E43AB9315}" dt="2026-01-18T16:35:17.405" v="135" actId="47"/>
        <pc:sldMkLst>
          <pc:docMk/>
          <pc:sldMk cId="2097980899" sldId="276"/>
        </pc:sldMkLst>
      </pc:sldChg>
      <pc:sldChg chg="del">
        <pc:chgData name="Sayed Ali" userId="9f33ec35-7e0c-48a3-b7c5-b81316096e24" providerId="ADAL" clId="{C269B9B6-4BFF-441B-848A-444E43AB9315}" dt="2026-01-18T16:37:11.120" v="159" actId="47"/>
        <pc:sldMkLst>
          <pc:docMk/>
          <pc:sldMk cId="4234440383" sldId="277"/>
        </pc:sldMkLst>
      </pc:sldChg>
      <pc:sldChg chg="del">
        <pc:chgData name="Sayed Ali" userId="9f33ec35-7e0c-48a3-b7c5-b81316096e24" providerId="ADAL" clId="{C269B9B6-4BFF-441B-848A-444E43AB9315}" dt="2026-01-18T16:35:17.850" v="140" actId="47"/>
        <pc:sldMkLst>
          <pc:docMk/>
          <pc:sldMk cId="3613294420" sldId="278"/>
        </pc:sldMkLst>
      </pc:sldChg>
      <pc:sldChg chg="del">
        <pc:chgData name="Sayed Ali" userId="9f33ec35-7e0c-48a3-b7c5-b81316096e24" providerId="ADAL" clId="{C269B9B6-4BFF-441B-848A-444E43AB9315}" dt="2026-01-18T16:35:22.854" v="144" actId="47"/>
        <pc:sldMkLst>
          <pc:docMk/>
          <pc:sldMk cId="3158208026" sldId="279"/>
        </pc:sldMkLst>
      </pc:sldChg>
      <pc:sldChg chg="del">
        <pc:chgData name="Sayed Ali" userId="9f33ec35-7e0c-48a3-b7c5-b81316096e24" providerId="ADAL" clId="{C269B9B6-4BFF-441B-848A-444E43AB9315}" dt="2026-01-18T16:34:34.609" v="104" actId="47"/>
        <pc:sldMkLst>
          <pc:docMk/>
          <pc:sldMk cId="1452956649" sldId="280"/>
        </pc:sldMkLst>
      </pc:sldChg>
      <pc:sldChg chg="del">
        <pc:chgData name="Sayed Ali" userId="9f33ec35-7e0c-48a3-b7c5-b81316096e24" providerId="ADAL" clId="{C269B9B6-4BFF-441B-848A-444E43AB9315}" dt="2026-01-18T16:35:17.630" v="137" actId="47"/>
        <pc:sldMkLst>
          <pc:docMk/>
          <pc:sldMk cId="127282498" sldId="281"/>
        </pc:sldMkLst>
      </pc:sldChg>
      <pc:sldChg chg="del">
        <pc:chgData name="Sayed Ali" userId="9f33ec35-7e0c-48a3-b7c5-b81316096e24" providerId="ADAL" clId="{C269B9B6-4BFF-441B-848A-444E43AB9315}" dt="2026-01-18T16:35:11.186" v="118" actId="47"/>
        <pc:sldMkLst>
          <pc:docMk/>
          <pc:sldMk cId="3503371782" sldId="282"/>
        </pc:sldMkLst>
      </pc:sldChg>
      <pc:sldChg chg="del">
        <pc:chgData name="Sayed Ali" userId="9f33ec35-7e0c-48a3-b7c5-b81316096e24" providerId="ADAL" clId="{C269B9B6-4BFF-441B-848A-444E43AB9315}" dt="2026-01-18T16:35:15.986" v="128" actId="47"/>
        <pc:sldMkLst>
          <pc:docMk/>
          <pc:sldMk cId="3765883068" sldId="283"/>
        </pc:sldMkLst>
      </pc:sldChg>
      <pc:sldChg chg="modSp mod">
        <pc:chgData name="Sayed Ali" userId="9f33ec35-7e0c-48a3-b7c5-b81316096e24" providerId="ADAL" clId="{C269B9B6-4BFF-441B-848A-444E43AB9315}" dt="2026-01-18T15:54:21.772" v="94" actId="20577"/>
        <pc:sldMkLst>
          <pc:docMk/>
          <pc:sldMk cId="491129753" sldId="284"/>
        </pc:sldMkLst>
        <pc:spChg chg="mod">
          <ac:chgData name="Sayed Ali" userId="9f33ec35-7e0c-48a3-b7c5-b81316096e24" providerId="ADAL" clId="{C269B9B6-4BFF-441B-848A-444E43AB9315}" dt="2026-01-18T15:54:21.772" v="94" actId="20577"/>
          <ac:spMkLst>
            <pc:docMk/>
            <pc:sldMk cId="491129753" sldId="284"/>
            <ac:spMk id="4" creationId="{681DCAE5-BEDA-3C75-7279-009220DA5220}"/>
          </ac:spMkLst>
        </pc:spChg>
      </pc:sldChg>
      <pc:sldChg chg="del">
        <pc:chgData name="Sayed Ali" userId="9f33ec35-7e0c-48a3-b7c5-b81316096e24" providerId="ADAL" clId="{C269B9B6-4BFF-441B-848A-444E43AB9315}" dt="2026-01-18T16:35:15.765" v="127" actId="47"/>
        <pc:sldMkLst>
          <pc:docMk/>
          <pc:sldMk cId="3872764206" sldId="285"/>
        </pc:sldMkLst>
      </pc:sldChg>
      <pc:sldChg chg="del">
        <pc:chgData name="Sayed Ali" userId="9f33ec35-7e0c-48a3-b7c5-b81316096e24" providerId="ADAL" clId="{C269B9B6-4BFF-441B-848A-444E43AB9315}" dt="2026-01-18T16:35:13.934" v="122" actId="47"/>
        <pc:sldMkLst>
          <pc:docMk/>
          <pc:sldMk cId="1217730117" sldId="286"/>
        </pc:sldMkLst>
      </pc:sldChg>
      <pc:sldChg chg="del">
        <pc:chgData name="Sayed Ali" userId="9f33ec35-7e0c-48a3-b7c5-b81316096e24" providerId="ADAL" clId="{C269B9B6-4BFF-441B-848A-444E43AB9315}" dt="2026-01-18T16:35:17.975" v="142" actId="47"/>
        <pc:sldMkLst>
          <pc:docMk/>
          <pc:sldMk cId="4199763707" sldId="287"/>
        </pc:sldMkLst>
      </pc:sldChg>
      <pc:sldChg chg="del">
        <pc:chgData name="Sayed Ali" userId="9f33ec35-7e0c-48a3-b7c5-b81316096e24" providerId="ADAL" clId="{C269B9B6-4BFF-441B-848A-444E43AB9315}" dt="2026-01-18T16:35:15.525" v="126" actId="47"/>
        <pc:sldMkLst>
          <pc:docMk/>
          <pc:sldMk cId="4207062857" sldId="288"/>
        </pc:sldMkLst>
      </pc:sldChg>
      <pc:sldChg chg="del">
        <pc:chgData name="Sayed Ali" userId="9f33ec35-7e0c-48a3-b7c5-b81316096e24" providerId="ADAL" clId="{C269B9B6-4BFF-441B-848A-444E43AB9315}" dt="2026-01-18T16:35:16.323" v="130" actId="47"/>
        <pc:sldMkLst>
          <pc:docMk/>
          <pc:sldMk cId="4096424690" sldId="289"/>
        </pc:sldMkLst>
      </pc:sldChg>
      <pc:sldChg chg="del">
        <pc:chgData name="Sayed Ali" userId="9f33ec35-7e0c-48a3-b7c5-b81316096e24" providerId="ADAL" clId="{C269B9B6-4BFF-441B-848A-444E43AB9315}" dt="2026-01-18T16:35:16.171" v="129" actId="47"/>
        <pc:sldMkLst>
          <pc:docMk/>
          <pc:sldMk cId="3278970402" sldId="290"/>
        </pc:sldMkLst>
      </pc:sldChg>
      <pc:sldChg chg="del">
        <pc:chgData name="Sayed Ali" userId="9f33ec35-7e0c-48a3-b7c5-b81316096e24" providerId="ADAL" clId="{C269B9B6-4BFF-441B-848A-444E43AB9315}" dt="2026-01-18T16:34:36.875" v="105" actId="47"/>
        <pc:sldMkLst>
          <pc:docMk/>
          <pc:sldMk cId="2372716320" sldId="291"/>
        </pc:sldMkLst>
      </pc:sldChg>
      <pc:sldChg chg="del">
        <pc:chgData name="Sayed Ali" userId="9f33ec35-7e0c-48a3-b7c5-b81316096e24" providerId="ADAL" clId="{C269B9B6-4BFF-441B-848A-444E43AB9315}" dt="2026-01-18T16:36:44.056" v="146" actId="47"/>
        <pc:sldMkLst>
          <pc:docMk/>
          <pc:sldMk cId="398862040" sldId="292"/>
        </pc:sldMkLst>
      </pc:sldChg>
      <pc:sldChg chg="del">
        <pc:chgData name="Sayed Ali" userId="9f33ec35-7e0c-48a3-b7c5-b81316096e24" providerId="ADAL" clId="{C269B9B6-4BFF-441B-848A-444E43AB9315}" dt="2026-01-18T16:35:17.326" v="134" actId="47"/>
        <pc:sldMkLst>
          <pc:docMk/>
          <pc:sldMk cId="901387141" sldId="293"/>
        </pc:sldMkLst>
      </pc:sldChg>
      <pc:sldChg chg="del">
        <pc:chgData name="Sayed Ali" userId="9f33ec35-7e0c-48a3-b7c5-b81316096e24" providerId="ADAL" clId="{C269B9B6-4BFF-441B-848A-444E43AB9315}" dt="2026-01-18T16:34:38.818" v="106" actId="47"/>
        <pc:sldMkLst>
          <pc:docMk/>
          <pc:sldMk cId="3756972527" sldId="294"/>
        </pc:sldMkLst>
      </pc:sldChg>
      <pc:sldChg chg="del">
        <pc:chgData name="Sayed Ali" userId="9f33ec35-7e0c-48a3-b7c5-b81316096e24" providerId="ADAL" clId="{C269B9B6-4BFF-441B-848A-444E43AB9315}" dt="2026-01-18T16:37:03.244" v="154" actId="47"/>
        <pc:sldMkLst>
          <pc:docMk/>
          <pc:sldMk cId="76871591" sldId="295"/>
        </pc:sldMkLst>
      </pc:sldChg>
      <pc:sldChg chg="del">
        <pc:chgData name="Sayed Ali" userId="9f33ec35-7e0c-48a3-b7c5-b81316096e24" providerId="ADAL" clId="{C269B9B6-4BFF-441B-848A-444E43AB9315}" dt="2026-01-18T16:37:12.845" v="160" actId="47"/>
        <pc:sldMkLst>
          <pc:docMk/>
          <pc:sldMk cId="3508834531" sldId="296"/>
        </pc:sldMkLst>
      </pc:sldChg>
      <pc:sldChg chg="del">
        <pc:chgData name="Sayed Ali" userId="9f33ec35-7e0c-48a3-b7c5-b81316096e24" providerId="ADAL" clId="{C269B9B6-4BFF-441B-848A-444E43AB9315}" dt="2026-01-18T16:36:55.111" v="150" actId="47"/>
        <pc:sldMkLst>
          <pc:docMk/>
          <pc:sldMk cId="451990287" sldId="297"/>
        </pc:sldMkLst>
      </pc:sldChg>
      <pc:sldChg chg="del">
        <pc:chgData name="Sayed Ali" userId="9f33ec35-7e0c-48a3-b7c5-b81316096e24" providerId="ADAL" clId="{C269B9B6-4BFF-441B-848A-444E43AB9315}" dt="2026-01-18T16:36:46.876" v="147" actId="47"/>
        <pc:sldMkLst>
          <pc:docMk/>
          <pc:sldMk cId="539917987" sldId="298"/>
        </pc:sldMkLst>
      </pc:sldChg>
      <pc:sldChg chg="del">
        <pc:chgData name="Sayed Ali" userId="9f33ec35-7e0c-48a3-b7c5-b81316096e24" providerId="ADAL" clId="{C269B9B6-4BFF-441B-848A-444E43AB9315}" dt="2026-01-18T16:36:47.852" v="148" actId="47"/>
        <pc:sldMkLst>
          <pc:docMk/>
          <pc:sldMk cId="3352275514" sldId="299"/>
        </pc:sldMkLst>
      </pc:sldChg>
      <pc:sldChg chg="del">
        <pc:chgData name="Sayed Ali" userId="9f33ec35-7e0c-48a3-b7c5-b81316096e24" providerId="ADAL" clId="{C269B9B6-4BFF-441B-848A-444E43AB9315}" dt="2026-01-18T16:36:53.833" v="149" actId="47"/>
        <pc:sldMkLst>
          <pc:docMk/>
          <pc:sldMk cId="858830346" sldId="300"/>
        </pc:sldMkLst>
      </pc:sldChg>
      <pc:sldChg chg="del">
        <pc:chgData name="Sayed Ali" userId="9f33ec35-7e0c-48a3-b7c5-b81316096e24" providerId="ADAL" clId="{C269B9B6-4BFF-441B-848A-444E43AB9315}" dt="2026-01-18T16:34:43.404" v="108" actId="47"/>
        <pc:sldMkLst>
          <pc:docMk/>
          <pc:sldMk cId="1443268494" sldId="301"/>
        </pc:sldMkLst>
      </pc:sldChg>
      <pc:sldChg chg="del">
        <pc:chgData name="Sayed Ali" userId="9f33ec35-7e0c-48a3-b7c5-b81316096e24" providerId="ADAL" clId="{C269B9B6-4BFF-441B-848A-444E43AB9315}" dt="2026-01-18T16:34:10.158" v="100" actId="47"/>
        <pc:sldMkLst>
          <pc:docMk/>
          <pc:sldMk cId="3277248266" sldId="304"/>
        </pc:sldMkLst>
      </pc:sldChg>
      <pc:sldChg chg="del">
        <pc:chgData name="Sayed Ali" userId="9f33ec35-7e0c-48a3-b7c5-b81316096e24" providerId="ADAL" clId="{C269B9B6-4BFF-441B-848A-444E43AB9315}" dt="2026-01-18T16:34:57.127" v="109" actId="47"/>
        <pc:sldMkLst>
          <pc:docMk/>
          <pc:sldMk cId="1449717033" sldId="305"/>
        </pc:sldMkLst>
      </pc:sldChg>
      <pc:sldChg chg="del">
        <pc:chgData name="Sayed Ali" userId="9f33ec35-7e0c-48a3-b7c5-b81316096e24" providerId="ADAL" clId="{C269B9B6-4BFF-441B-848A-444E43AB9315}" dt="2026-01-18T16:35:16.532" v="131" actId="47"/>
        <pc:sldMkLst>
          <pc:docMk/>
          <pc:sldMk cId="3750369998" sldId="306"/>
        </pc:sldMkLst>
      </pc:sldChg>
      <pc:sldChg chg="del">
        <pc:chgData name="Sayed Ali" userId="9f33ec35-7e0c-48a3-b7c5-b81316096e24" providerId="ADAL" clId="{C269B9B6-4BFF-441B-848A-444E43AB9315}" dt="2026-01-18T16:37:06.264" v="157" actId="47"/>
        <pc:sldMkLst>
          <pc:docMk/>
          <pc:sldMk cId="2586476365" sldId="307"/>
        </pc:sldMkLst>
      </pc:sldChg>
      <pc:sldChg chg="del">
        <pc:chgData name="Sayed Ali" userId="9f33ec35-7e0c-48a3-b7c5-b81316096e24" providerId="ADAL" clId="{C269B9B6-4BFF-441B-848A-444E43AB9315}" dt="2026-01-18T16:35:00.942" v="111" actId="47"/>
        <pc:sldMkLst>
          <pc:docMk/>
          <pc:sldMk cId="2667524908" sldId="308"/>
        </pc:sldMkLst>
      </pc:sldChg>
      <pc:sldChg chg="del">
        <pc:chgData name="Sayed Ali" userId="9f33ec35-7e0c-48a3-b7c5-b81316096e24" providerId="ADAL" clId="{C269B9B6-4BFF-441B-848A-444E43AB9315}" dt="2026-01-18T16:35:13.599" v="121" actId="47"/>
        <pc:sldMkLst>
          <pc:docMk/>
          <pc:sldMk cId="1544880233" sldId="309"/>
        </pc:sldMkLst>
      </pc:sldChg>
      <pc:sldChg chg="del">
        <pc:chgData name="Sayed Ali" userId="9f33ec35-7e0c-48a3-b7c5-b81316096e24" providerId="ADAL" clId="{C269B9B6-4BFF-441B-848A-444E43AB9315}" dt="2026-01-18T16:34:39.807" v="107" actId="47"/>
        <pc:sldMkLst>
          <pc:docMk/>
          <pc:sldMk cId="3541790669" sldId="310"/>
        </pc:sldMkLst>
      </pc:sldChg>
      <pc:sldChg chg="del">
        <pc:chgData name="Sayed Ali" userId="9f33ec35-7e0c-48a3-b7c5-b81316096e24" providerId="ADAL" clId="{C269B9B6-4BFF-441B-848A-444E43AB9315}" dt="2026-01-18T16:35:12.288" v="120" actId="47"/>
        <pc:sldMkLst>
          <pc:docMk/>
          <pc:sldMk cId="3827425092" sldId="311"/>
        </pc:sldMkLst>
      </pc:sldChg>
      <pc:sldChg chg="del">
        <pc:chgData name="Sayed Ali" userId="9f33ec35-7e0c-48a3-b7c5-b81316096e24" providerId="ADAL" clId="{C269B9B6-4BFF-441B-848A-444E43AB9315}" dt="2026-01-18T16:35:11.904" v="119" actId="47"/>
        <pc:sldMkLst>
          <pc:docMk/>
          <pc:sldMk cId="2845109126" sldId="312"/>
        </pc:sldMkLst>
      </pc:sldChg>
      <pc:sldChg chg="del">
        <pc:chgData name="Sayed Ali" userId="9f33ec35-7e0c-48a3-b7c5-b81316096e24" providerId="ADAL" clId="{C269B9B6-4BFF-441B-848A-444E43AB9315}" dt="2026-01-18T16:37:05.124" v="156" actId="47"/>
        <pc:sldMkLst>
          <pc:docMk/>
          <pc:sldMk cId="4081275420" sldId="313"/>
        </pc:sldMkLst>
      </pc:sldChg>
      <pc:sldChg chg="del">
        <pc:chgData name="Sayed Ali" userId="9f33ec35-7e0c-48a3-b7c5-b81316096e24" providerId="ADAL" clId="{C269B9B6-4BFF-441B-848A-444E43AB9315}" dt="2026-01-18T16:37:04.219" v="155" actId="47"/>
        <pc:sldMkLst>
          <pc:docMk/>
          <pc:sldMk cId="3402857089" sldId="314"/>
        </pc:sldMkLst>
      </pc:sldChg>
      <pc:sldChg chg="del">
        <pc:chgData name="Sayed Ali" userId="9f33ec35-7e0c-48a3-b7c5-b81316096e24" providerId="ADAL" clId="{C269B9B6-4BFF-441B-848A-444E43AB9315}" dt="2026-01-18T16:37:58.760" v="168" actId="47"/>
        <pc:sldMkLst>
          <pc:docMk/>
          <pc:sldMk cId="1884259812" sldId="315"/>
        </pc:sldMkLst>
      </pc:sldChg>
      <pc:sldChg chg="del">
        <pc:chgData name="Sayed Ali" userId="9f33ec35-7e0c-48a3-b7c5-b81316096e24" providerId="ADAL" clId="{C269B9B6-4BFF-441B-848A-444E43AB9315}" dt="2026-01-18T16:33:59.656" v="98" actId="47"/>
        <pc:sldMkLst>
          <pc:docMk/>
          <pc:sldMk cId="2016992546" sldId="316"/>
        </pc:sldMkLst>
      </pc:sldChg>
      <pc:sldChg chg="del">
        <pc:chgData name="Sayed Ali" userId="9f33ec35-7e0c-48a3-b7c5-b81316096e24" providerId="ADAL" clId="{C269B9B6-4BFF-441B-848A-444E43AB9315}" dt="2026-01-18T16:34:59.656" v="110" actId="47"/>
        <pc:sldMkLst>
          <pc:docMk/>
          <pc:sldMk cId="946932849" sldId="317"/>
        </pc:sldMkLst>
      </pc:sldChg>
      <pc:sldChg chg="del">
        <pc:chgData name="Sayed Ali" userId="9f33ec35-7e0c-48a3-b7c5-b81316096e24" providerId="ADAL" clId="{C269B9B6-4BFF-441B-848A-444E43AB9315}" dt="2026-01-18T16:36:58.193" v="152" actId="47"/>
        <pc:sldMkLst>
          <pc:docMk/>
          <pc:sldMk cId="4026959455" sldId="319"/>
        </pc:sldMkLst>
      </pc:sldChg>
      <pc:sldChg chg="del">
        <pc:chgData name="Sayed Ali" userId="9f33ec35-7e0c-48a3-b7c5-b81316096e24" providerId="ADAL" clId="{C269B9B6-4BFF-441B-848A-444E43AB9315}" dt="2026-01-18T16:37:57.382" v="167" actId="47"/>
        <pc:sldMkLst>
          <pc:docMk/>
          <pc:sldMk cId="3412320169" sldId="320"/>
        </pc:sldMkLst>
      </pc:sldChg>
      <pc:sldChg chg="addSp delSp modSp new del">
        <pc:chgData name="Sayed Ali" userId="9f33ec35-7e0c-48a3-b7c5-b81316096e24" providerId="ADAL" clId="{C269B9B6-4BFF-441B-848A-444E43AB9315}" dt="2026-01-18T16:34:23.651" v="103" actId="47"/>
        <pc:sldMkLst>
          <pc:docMk/>
          <pc:sldMk cId="3316020950" sldId="321"/>
        </pc:sldMkLst>
        <pc:spChg chg="add del">
          <ac:chgData name="Sayed Ali" userId="9f33ec35-7e0c-48a3-b7c5-b81316096e24" providerId="ADAL" clId="{C269B9B6-4BFF-441B-848A-444E43AB9315}" dt="2026-01-18T15:55:34.959" v="97"/>
          <ac:spMkLst>
            <pc:docMk/>
            <pc:sldMk cId="3316020950" sldId="321"/>
            <ac:spMk id="2" creationId="{B2E3CA03-4E06-3573-3F73-63653925A550}"/>
          </ac:spMkLst>
        </pc:spChg>
        <pc:picChg chg="add mod">
          <ac:chgData name="Sayed Ali" userId="9f33ec35-7e0c-48a3-b7c5-b81316096e24" providerId="ADAL" clId="{C269B9B6-4BFF-441B-848A-444E43AB9315}" dt="2026-01-18T15:55:34.959" v="97"/>
          <ac:picMkLst>
            <pc:docMk/>
            <pc:sldMk cId="3316020950" sldId="321"/>
            <ac:picMk id="4" creationId="{83745DEE-3CC3-372A-4450-55797515E4F7}"/>
          </ac:picMkLst>
        </pc:picChg>
      </pc:sldChg>
      <pc:sldChg chg="modSp mod">
        <pc:chgData name="Sayed Ali" userId="9f33ec35-7e0c-48a3-b7c5-b81316096e24" providerId="ADAL" clId="{C269B9B6-4BFF-441B-848A-444E43AB9315}" dt="2026-01-18T15:54:04.302" v="75" actId="20577"/>
        <pc:sldMkLst>
          <pc:docMk/>
          <pc:sldMk cId="601623423" sldId="322"/>
        </pc:sldMkLst>
        <pc:spChg chg="mod">
          <ac:chgData name="Sayed Ali" userId="9f33ec35-7e0c-48a3-b7c5-b81316096e24" providerId="ADAL" clId="{C269B9B6-4BFF-441B-848A-444E43AB9315}" dt="2026-01-18T15:53:45.828" v="43" actId="20577"/>
          <ac:spMkLst>
            <pc:docMk/>
            <pc:sldMk cId="601623423" sldId="322"/>
            <ac:spMk id="3" creationId="{11AF153B-A318-C105-B8DA-FAADFE39A858}"/>
          </ac:spMkLst>
        </pc:spChg>
        <pc:spChg chg="mod">
          <ac:chgData name="Sayed Ali" userId="9f33ec35-7e0c-48a3-b7c5-b81316096e24" providerId="ADAL" clId="{C269B9B6-4BFF-441B-848A-444E43AB9315}" dt="2026-01-18T15:53:27.077" v="27" actId="20577"/>
          <ac:spMkLst>
            <pc:docMk/>
            <pc:sldMk cId="601623423" sldId="322"/>
            <ac:spMk id="8" creationId="{D6CBA791-0276-B7DA-8132-1FA895801F5B}"/>
          </ac:spMkLst>
        </pc:spChg>
        <pc:spChg chg="mod">
          <ac:chgData name="Sayed Ali" userId="9f33ec35-7e0c-48a3-b7c5-b81316096e24" providerId="ADAL" clId="{C269B9B6-4BFF-441B-848A-444E43AB9315}" dt="2026-01-18T15:53:56.544" v="60" actId="20577"/>
          <ac:spMkLst>
            <pc:docMk/>
            <pc:sldMk cId="601623423" sldId="322"/>
            <ac:spMk id="9" creationId="{7863CB6C-5BDD-045E-309A-890F13763024}"/>
          </ac:spMkLst>
        </pc:spChg>
        <pc:spChg chg="mod">
          <ac:chgData name="Sayed Ali" userId="9f33ec35-7e0c-48a3-b7c5-b81316096e24" providerId="ADAL" clId="{C269B9B6-4BFF-441B-848A-444E43AB9315}" dt="2026-01-18T15:54:04.302" v="75" actId="20577"/>
          <ac:spMkLst>
            <pc:docMk/>
            <pc:sldMk cId="601623423" sldId="322"/>
            <ac:spMk id="27" creationId="{67CC343B-3128-1596-9CF2-6E9B4049553C}"/>
          </ac:spMkLst>
        </pc:spChg>
      </pc:sldChg>
      <pc:sldChg chg="del">
        <pc:chgData name="Sayed Ali" userId="9f33ec35-7e0c-48a3-b7c5-b81316096e24" providerId="ADAL" clId="{C269B9B6-4BFF-441B-848A-444E43AB9315}" dt="2026-01-18T16:35:05.600" v="114" actId="47"/>
        <pc:sldMkLst>
          <pc:docMk/>
          <pc:sldMk cId="2835167554" sldId="323"/>
        </pc:sldMkLst>
      </pc:sldChg>
      <pc:sldChg chg="del">
        <pc:chgData name="Sayed Ali" userId="9f33ec35-7e0c-48a3-b7c5-b81316096e24" providerId="ADAL" clId="{C269B9B6-4BFF-441B-848A-444E43AB9315}" dt="2026-01-18T16:35:03.055" v="112" actId="47"/>
        <pc:sldMkLst>
          <pc:docMk/>
          <pc:sldMk cId="1824809747" sldId="324"/>
        </pc:sldMkLst>
      </pc:sldChg>
      <pc:sldChg chg="del">
        <pc:chgData name="Sayed Ali" userId="9f33ec35-7e0c-48a3-b7c5-b81316096e24" providerId="ADAL" clId="{C269B9B6-4BFF-441B-848A-444E43AB9315}" dt="2026-01-18T16:37:54.871" v="166" actId="47"/>
        <pc:sldMkLst>
          <pc:docMk/>
          <pc:sldMk cId="2381650723" sldId="325"/>
        </pc:sldMkLst>
      </pc:sldChg>
      <pc:sldChg chg="del">
        <pc:chgData name="Sayed Ali" userId="9f33ec35-7e0c-48a3-b7c5-b81316096e24" providerId="ADAL" clId="{C269B9B6-4BFF-441B-848A-444E43AB9315}" dt="2026-01-18T16:34:01.577" v="99" actId="47"/>
        <pc:sldMkLst>
          <pc:docMk/>
          <pc:sldMk cId="3276990507" sldId="327"/>
        </pc:sldMkLst>
      </pc:sldChg>
      <pc:sldChg chg="del">
        <pc:chgData name="Sayed Ali" userId="9f33ec35-7e0c-48a3-b7c5-b81316096e24" providerId="ADAL" clId="{C269B9B6-4BFF-441B-848A-444E43AB9315}" dt="2026-01-18T16:35:04.145" v="113" actId="47"/>
        <pc:sldMkLst>
          <pc:docMk/>
          <pc:sldMk cId="4161957302" sldId="328"/>
        </pc:sldMkLst>
      </pc:sldChg>
      <pc:sldChg chg="del">
        <pc:chgData name="Sayed Ali" userId="9f33ec35-7e0c-48a3-b7c5-b81316096e24" providerId="ADAL" clId="{C269B9B6-4BFF-441B-848A-444E43AB9315}" dt="2026-01-18T16:37:18.090" v="163" actId="47"/>
        <pc:sldMkLst>
          <pc:docMk/>
          <pc:sldMk cId="3554295372" sldId="329"/>
        </pc:sldMkLst>
      </pc:sldChg>
      <pc:sldChg chg="del">
        <pc:chgData name="Sayed Ali" userId="9f33ec35-7e0c-48a3-b7c5-b81316096e24" providerId="ADAL" clId="{C269B9B6-4BFF-441B-848A-444E43AB9315}" dt="2026-01-18T16:34:12.123" v="101" actId="47"/>
        <pc:sldMkLst>
          <pc:docMk/>
          <pc:sldMk cId="197122529" sldId="330"/>
        </pc:sldMkLst>
      </pc:sldChg>
      <pc:sldChg chg="del">
        <pc:chgData name="Sayed Ali" userId="9f33ec35-7e0c-48a3-b7c5-b81316096e24" providerId="ADAL" clId="{C269B9B6-4BFF-441B-848A-444E43AB9315}" dt="2026-01-18T16:37:14.859" v="161" actId="47"/>
        <pc:sldMkLst>
          <pc:docMk/>
          <pc:sldMk cId="3498163117" sldId="333"/>
        </pc:sldMkLst>
      </pc:sldChg>
      <pc:sldChg chg="del">
        <pc:chgData name="Sayed Ali" userId="9f33ec35-7e0c-48a3-b7c5-b81316096e24" providerId="ADAL" clId="{C269B9B6-4BFF-441B-848A-444E43AB9315}" dt="2026-01-18T16:35:16.761" v="132" actId="47"/>
        <pc:sldMkLst>
          <pc:docMk/>
          <pc:sldMk cId="2856380919" sldId="337"/>
        </pc:sldMkLst>
      </pc:sldChg>
      <pc:sldChg chg="del">
        <pc:chgData name="Sayed Ali" userId="9f33ec35-7e0c-48a3-b7c5-b81316096e24" providerId="ADAL" clId="{C269B9B6-4BFF-441B-848A-444E43AB9315}" dt="2026-01-18T16:35:17.246" v="133" actId="47"/>
        <pc:sldMkLst>
          <pc:docMk/>
          <pc:sldMk cId="476815598" sldId="338"/>
        </pc:sldMkLst>
      </pc:sldChg>
      <pc:sldChg chg="del">
        <pc:chgData name="Sayed Ali" userId="9f33ec35-7e0c-48a3-b7c5-b81316096e24" providerId="ADAL" clId="{C269B9B6-4BFF-441B-848A-444E43AB9315}" dt="2026-01-18T16:37:16.689" v="162" actId="47"/>
        <pc:sldMkLst>
          <pc:docMk/>
          <pc:sldMk cId="3368180838" sldId="345"/>
        </pc:sldMkLst>
      </pc:sldChg>
      <pc:sldChg chg="del">
        <pc:chgData name="Sayed Ali" userId="9f33ec35-7e0c-48a3-b7c5-b81316096e24" providerId="ADAL" clId="{C269B9B6-4BFF-441B-848A-444E43AB9315}" dt="2026-01-18T16:38:12.605" v="170" actId="47"/>
        <pc:sldMkLst>
          <pc:docMk/>
          <pc:sldMk cId="2318028196" sldId="353"/>
        </pc:sldMkLst>
      </pc:sldChg>
      <pc:sldChg chg="modSp mod">
        <pc:chgData name="Sayed Ali" userId="9f33ec35-7e0c-48a3-b7c5-b81316096e24" providerId="ADAL" clId="{C269B9B6-4BFF-441B-848A-444E43AB9315}" dt="2026-01-18T15:53:13.460" v="19" actId="20577"/>
        <pc:sldMkLst>
          <pc:docMk/>
          <pc:sldMk cId="2639379867" sldId="1720"/>
        </pc:sldMkLst>
        <pc:spChg chg="mod">
          <ac:chgData name="Sayed Ali" userId="9f33ec35-7e0c-48a3-b7c5-b81316096e24" providerId="ADAL" clId="{C269B9B6-4BFF-441B-848A-444E43AB9315}" dt="2026-01-18T15:53:13.460" v="19" actId="20577"/>
          <ac:spMkLst>
            <pc:docMk/>
            <pc:sldMk cId="2639379867" sldId="1720"/>
            <ac:spMk id="4" creationId="{00000000-0000-0000-0000-000000000000}"/>
          </ac:spMkLst>
        </pc:spChg>
      </pc:sldChg>
      <pc:sldChg chg="del">
        <pc:chgData name="Sayed Ali" userId="9f33ec35-7e0c-48a3-b7c5-b81316096e24" providerId="ADAL" clId="{C269B9B6-4BFF-441B-848A-444E43AB9315}" dt="2026-01-18T16:35:07.520" v="116" actId="47"/>
        <pc:sldMkLst>
          <pc:docMk/>
          <pc:sldMk cId="1856991596" sldId="2147481839"/>
        </pc:sldMkLst>
      </pc:sldChg>
      <pc:sldChg chg="del">
        <pc:chgData name="Sayed Ali" userId="9f33ec35-7e0c-48a3-b7c5-b81316096e24" providerId="ADAL" clId="{C269B9B6-4BFF-441B-848A-444E43AB9315}" dt="2026-01-18T16:37:40.505" v="165" actId="47"/>
        <pc:sldMkLst>
          <pc:docMk/>
          <pc:sldMk cId="1861516063" sldId="2147483603"/>
        </pc:sldMkLst>
      </pc:sldChg>
      <pc:sldChg chg="del">
        <pc:chgData name="Sayed Ali" userId="9f33ec35-7e0c-48a3-b7c5-b81316096e24" providerId="ADAL" clId="{C269B9B6-4BFF-441B-848A-444E43AB9315}" dt="2026-01-18T16:36:59.831" v="153" actId="47"/>
        <pc:sldMkLst>
          <pc:docMk/>
          <pc:sldMk cId="153274902" sldId="2147483613"/>
        </pc:sldMkLst>
      </pc:sldChg>
      <pc:sldChg chg="del">
        <pc:chgData name="Sayed Ali" userId="9f33ec35-7e0c-48a3-b7c5-b81316096e24" providerId="ADAL" clId="{C269B9B6-4BFF-441B-848A-444E43AB9315}" dt="2026-01-18T16:35:17.472" v="136" actId="47"/>
        <pc:sldMkLst>
          <pc:docMk/>
          <pc:sldMk cId="3135818271" sldId="2147483645"/>
        </pc:sldMkLst>
      </pc:sldChg>
      <pc:sldMasterChg chg="delSldLayout">
        <pc:chgData name="Sayed Ali" userId="9f33ec35-7e0c-48a3-b7c5-b81316096e24" providerId="ADAL" clId="{C269B9B6-4BFF-441B-848A-444E43AB9315}" dt="2026-01-18T16:38:12.605" v="170" actId="47"/>
        <pc:sldMasterMkLst>
          <pc:docMk/>
          <pc:sldMasterMk cId="2697488374" sldId="2147483868"/>
        </pc:sldMasterMkLst>
        <pc:sldLayoutChg chg="del">
          <pc:chgData name="Sayed Ali" userId="9f33ec35-7e0c-48a3-b7c5-b81316096e24" providerId="ADAL" clId="{C269B9B6-4BFF-441B-848A-444E43AB9315}" dt="2026-01-18T16:38:12.605" v="170" actId="47"/>
          <pc:sldLayoutMkLst>
            <pc:docMk/>
            <pc:sldMasterMk cId="2697488374" sldId="2147483868"/>
            <pc:sldLayoutMk cId="1107972134" sldId="2147483939"/>
          </pc:sldLayoutMkLst>
        </pc:sldLayoutChg>
      </pc:sldMasterChg>
      <pc:sldMasterChg chg="delSldLayout">
        <pc:chgData name="Sayed Ali" userId="9f33ec35-7e0c-48a3-b7c5-b81316096e24" providerId="ADAL" clId="{C269B9B6-4BFF-441B-848A-444E43AB9315}" dt="2026-01-18T16:37:57.382" v="167" actId="47"/>
        <pc:sldMasterMkLst>
          <pc:docMk/>
          <pc:sldMasterMk cId="962436162" sldId="2147483944"/>
        </pc:sldMasterMkLst>
        <pc:sldLayoutChg chg="del">
          <pc:chgData name="Sayed Ali" userId="9f33ec35-7e0c-48a3-b7c5-b81316096e24" providerId="ADAL" clId="{C269B9B6-4BFF-441B-848A-444E43AB9315}" dt="2026-01-18T16:37:57.382" v="167" actId="47"/>
          <pc:sldLayoutMkLst>
            <pc:docMk/>
            <pc:sldMasterMk cId="962436162" sldId="2147483944"/>
            <pc:sldLayoutMk cId="2219707584" sldId="2147483955"/>
          </pc:sldLayoutMkLst>
        </pc:sldLayoutChg>
      </pc:sldMasterChg>
      <pc:sldMasterChg chg="del delSldLayout">
        <pc:chgData name="Sayed Ali" userId="9f33ec35-7e0c-48a3-b7c5-b81316096e24" providerId="ADAL" clId="{C269B9B6-4BFF-441B-848A-444E43AB9315}" dt="2026-01-18T16:34:12.123" v="101" actId="47"/>
        <pc:sldMasterMkLst>
          <pc:docMk/>
          <pc:sldMasterMk cId="465208089" sldId="2147484001"/>
        </pc:sldMasterMkLst>
        <pc:sldLayoutChg chg="del">
          <pc:chgData name="Sayed Ali" userId="9f33ec35-7e0c-48a3-b7c5-b81316096e24" providerId="ADAL" clId="{C269B9B6-4BFF-441B-848A-444E43AB9315}" dt="2026-01-18T16:34:12.123" v="101" actId="47"/>
          <pc:sldLayoutMkLst>
            <pc:docMk/>
            <pc:sldMasterMk cId="465208089" sldId="2147484001"/>
            <pc:sldLayoutMk cId="416905993" sldId="2147484002"/>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2214990176" sldId="2147484003"/>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1011518710" sldId="2147484004"/>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1929763729" sldId="2147484005"/>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1434594885" sldId="2147484006"/>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1429996893" sldId="2147484007"/>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3624514546" sldId="2147484008"/>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375471220" sldId="2147484009"/>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797622729" sldId="2147484010"/>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4136720648" sldId="2147484011"/>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3095853970" sldId="2147484012"/>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3297633519" sldId="2147484013"/>
          </pc:sldLayoutMkLst>
        </pc:sldLayoutChg>
        <pc:sldLayoutChg chg="del">
          <pc:chgData name="Sayed Ali" userId="9f33ec35-7e0c-48a3-b7c5-b81316096e24" providerId="ADAL" clId="{C269B9B6-4BFF-441B-848A-444E43AB9315}" dt="2026-01-18T16:34:10.158" v="100" actId="47"/>
          <pc:sldLayoutMkLst>
            <pc:docMk/>
            <pc:sldMasterMk cId="465208089" sldId="2147484001"/>
            <pc:sldLayoutMk cId="1219320081" sldId="2147484014"/>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740882599" sldId="2147484015"/>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2376604240" sldId="2147484016"/>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3891270796" sldId="2147484017"/>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899884079" sldId="2147484018"/>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240651562" sldId="2147484019"/>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3971694264" sldId="2147484020"/>
          </pc:sldLayoutMkLst>
        </pc:sldLayoutChg>
        <pc:sldLayoutChg chg="del">
          <pc:chgData name="Sayed Ali" userId="9f33ec35-7e0c-48a3-b7c5-b81316096e24" providerId="ADAL" clId="{C269B9B6-4BFF-441B-848A-444E43AB9315}" dt="2026-01-18T16:34:12.123" v="101" actId="47"/>
          <pc:sldLayoutMkLst>
            <pc:docMk/>
            <pc:sldMasterMk cId="465208089" sldId="2147484001"/>
            <pc:sldLayoutMk cId="1173882854" sldId="2147484021"/>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B570E4-76FF-48C7-B11E-A30E01CC57CB}" type="datetimeFigureOut">
              <a:rPr lang="en-GB" smtClean="0"/>
              <a:t>18/01/202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96C0B6-D558-45A9-AA5C-4B0C7776B6D8}" type="slidenum">
              <a:rPr lang="en-GB" smtClean="0"/>
              <a:t>‹#›</a:t>
            </a:fld>
            <a:endParaRPr lang="en-GB"/>
          </a:p>
        </p:txBody>
      </p:sp>
    </p:spTree>
    <p:extLst>
      <p:ext uri="{BB962C8B-B14F-4D97-AF65-F5344CB8AC3E}">
        <p14:creationId xmlns:p14="http://schemas.microsoft.com/office/powerpoint/2010/main" val="12907016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6 4:50 P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9460096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CB91A-68A7-63DD-A88B-EAB854B222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BADB91-FB8D-2FDF-922D-3D655CA611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947BC3-7351-3E03-D4DB-F2547D961E9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3227D57-504D-9E7A-85EA-1BDBBA20936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2168214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3B7524-4DC7-B43F-05A0-57D8808F03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0DB7FA-721D-473C-40C2-20CE9A6745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F58C0A-0904-779A-DD60-65F96590834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B241BF5-484A-41D7-CCED-30563A02EEC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647554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090987-7682-0A56-CE6C-E47A99BF58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82CA56-5ACA-B136-EBDB-9B8E1853BE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F32A28-AC78-7EBE-5F82-E86A558F720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0CEA00-A4CA-1BC7-13F9-39A8B0D7E1DA}"/>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8F61DCC-CD76-4760-8C8A-4DB5ACF040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1549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42190D-7EB9-65B8-74D4-0548DCC64F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66B3E7-224C-3132-7F5C-6A4B52D39E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DF1705-DCBB-FA77-DCE5-33046878FCE8}"/>
              </a:ext>
            </a:extLst>
          </p:cNvPr>
          <p:cNvSpPr>
            <a:spLocks noGrp="1"/>
          </p:cNvSpPr>
          <p:nvPr>
            <p:ph type="body" idx="1"/>
          </p:nvPr>
        </p:nvSpPr>
        <p:spPr/>
        <p:txBody>
          <a:bodyPr/>
          <a:lstStyle/>
          <a:p>
            <a:r>
              <a:rPr lang="en-US" b="1"/>
              <a:t>Discussion opportunity</a:t>
            </a:r>
          </a:p>
        </p:txBody>
      </p:sp>
      <p:sp>
        <p:nvSpPr>
          <p:cNvPr id="4" name="Slide Number Placeholder 3">
            <a:extLst>
              <a:ext uri="{FF2B5EF4-FFF2-40B4-BE49-F238E27FC236}">
                <a16:creationId xmlns:a16="http://schemas.microsoft.com/office/drawing/2014/main" id="{07F98CAD-7659-BF93-CA55-A2EB04B530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96C0B6-D558-45A9-AA5C-4B0C7776B6D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11520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1BD4B5-4679-43FF-8EBE-09D12C93027F}" type="slidenum">
              <a:rPr kumimoji="0" lang="en-A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19364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9661A-7F3E-7B57-A764-2C02A75250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E41E84-F7DF-D01C-1768-58ED048A6D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CD6AF6-4DA8-D214-1407-2AE7C578377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F96338D3-9D0F-2817-54E9-28A89DE42290}"/>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79527F79-3AD6-9B05-F160-1E70D0AA2668}"/>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966E072-DA8F-F028-D24F-578C29B6CBD4}"/>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6 4:50 P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CFBFA976-ED17-C6B1-7042-44D77751AE7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153049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7697B-B06F-0A53-0123-EAAD9C80DC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14A932-5F93-EB39-6180-6DFC512E7E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7BAA77-EDFE-11A8-4501-16C6A8F2BD0B}"/>
              </a:ext>
            </a:extLst>
          </p:cNvPr>
          <p:cNvSpPr>
            <a:spLocks noGrp="1"/>
          </p:cNvSpPr>
          <p:nvPr>
            <p:ph type="body" idx="1"/>
          </p:nvPr>
        </p:nvSpPr>
        <p:spPr/>
        <p:txBody>
          <a:bodyPr/>
          <a:lstStyle/>
          <a:p>
            <a:pPr>
              <a:defRPr/>
            </a:pPr>
            <a:r>
              <a:rPr lang="en-US">
                <a:ea typeface="Calibri"/>
                <a:cs typeface="Calibri"/>
              </a:rPr>
              <a:t>A methodology on how to govern and manage agent creation using Zones. </a:t>
            </a:r>
          </a:p>
          <a:p>
            <a:pPr>
              <a:defRPr/>
            </a:pPr>
            <a:endParaRPr lang="en-US">
              <a:ea typeface="Calibri"/>
              <a:cs typeface="Calibri"/>
            </a:endParaRPr>
          </a:p>
          <a:p>
            <a:pPr>
              <a:defRPr/>
            </a:pPr>
            <a:r>
              <a:rPr lang="en-US">
                <a:ea typeface="Calibri"/>
                <a:cs typeface="Calibri"/>
              </a:rPr>
              <a:t>Today when building agents organizations have a plethora of tools at Microsoft to help you govern and secure your agents such as the Microsoft 365 Admin Center, Power Platform Admin Center, Microsoft Purview, Microsoft Sentinel, and more. These admin centers and their accompanying capabilities enable IT departments to leverage data protection, agent sharing &amp; usage limits, and reporting + cost management controls no matter which tool you use to build agents. </a:t>
            </a:r>
          </a:p>
          <a:p>
            <a:pPr>
              <a:defRPr/>
            </a:pPr>
            <a:endParaRPr lang="en-US">
              <a:ea typeface="Calibri"/>
              <a:cs typeface="Calibri"/>
            </a:endParaRPr>
          </a:p>
          <a:p>
            <a:pPr>
              <a:defRPr/>
            </a:pPr>
            <a:r>
              <a:rPr lang="en-US">
                <a:ea typeface="Calibri"/>
                <a:cs typeface="Calibri"/>
              </a:rPr>
              <a:t>However, just as important as the tooling used to govern and secure your AI investment, is </a:t>
            </a:r>
            <a:r>
              <a:rPr lang="en-US" b="1">
                <a:ea typeface="Calibri"/>
                <a:cs typeface="Calibri"/>
              </a:rPr>
              <a:t>how you organize people and processes </a:t>
            </a:r>
            <a:r>
              <a:rPr lang="en-US">
                <a:ea typeface="Calibri"/>
                <a:cs typeface="Calibri"/>
              </a:rPr>
              <a:t>in your organization to leverage agents. Organizations have to distinguish between use cases through a mix of training, audits, and automated agent review cycles.</a:t>
            </a:r>
          </a:p>
          <a:p>
            <a:pPr>
              <a:defRPr/>
            </a:pPr>
            <a:endParaRPr lang="en-US">
              <a:ea typeface="Calibri"/>
              <a:cs typeface="Calibri"/>
            </a:endParaRPr>
          </a:p>
          <a:p>
            <a:pPr>
              <a:defRPr/>
            </a:pPr>
            <a:r>
              <a:rPr lang="en-US">
                <a:ea typeface="Calibri"/>
                <a:cs typeface="Calibri"/>
              </a:rPr>
              <a:t>We recommend securing your AI by </a:t>
            </a:r>
            <a:r>
              <a:rPr lang="en-US" b="1">
                <a:ea typeface="Calibri"/>
                <a:cs typeface="Calibri"/>
              </a:rPr>
              <a:t>first</a:t>
            </a:r>
            <a:r>
              <a:rPr lang="en-US">
                <a:ea typeface="Calibri"/>
                <a:cs typeface="Calibri"/>
              </a:rPr>
              <a:t> analyzing who will have rights to consume and build agents and what agents they will be able to consume and how complex an agent that employee can build.</a:t>
            </a:r>
          </a:p>
          <a:p>
            <a:pPr>
              <a:defRPr/>
            </a:pPr>
            <a:endParaRPr lang="en-US">
              <a:ea typeface="Calibri"/>
              <a:cs typeface="Calibri"/>
            </a:endParaRPr>
          </a:p>
          <a:p>
            <a:pPr>
              <a:defRPr/>
            </a:pPr>
            <a:r>
              <a:rPr lang="en-US">
                <a:ea typeface="Calibri"/>
                <a:cs typeface="Calibri"/>
              </a:rPr>
              <a:t>For example, we define zone 1 as the citizen development zone. This means that anyone in the organization should be able to build a personal agent, meaning it can't be shared with anyone else in the organization, and that agent should only have access to read knowledge and surface content to the end user that they already have rights to access. These agents are typically built in Microsoft 365 Agent Builder or in SharePoint meaning that developer build rights and sharing limits are controlled in either the Microsoft 365 Admin Center or in SharePoint Advanced Management, depending on how the agent was built. </a:t>
            </a:r>
          </a:p>
          <a:p>
            <a:pPr>
              <a:defRPr/>
            </a:pPr>
            <a:endParaRPr lang="en-US">
              <a:ea typeface="Calibri"/>
              <a:cs typeface="Calibri"/>
            </a:endParaRPr>
          </a:p>
          <a:p>
            <a:pPr>
              <a:defRPr/>
            </a:pPr>
            <a:r>
              <a:rPr lang="en-US">
                <a:ea typeface="Calibri"/>
                <a:cs typeface="Calibri"/>
              </a:rPr>
              <a:t>In Zone 2 however, citizen developers can build agents with full CRUD capabilities because they've undergone IT sanctioned training to build more complex and widely shared agents. These agents are shared from the team level up to the departmental level via an IT managed agent store. Meaning the agent has been reviewed and approved by IT at the data connection, actions, security, and sharing levels with full visibility into the audit trails of the agents. These developers also follow ALM practices by first building agents in the development environment, moving to a test environment, and eventually putting the agent in production with IT sign off, ensuring a highly visible and secure development + deployment process.</a:t>
            </a:r>
          </a:p>
          <a:p>
            <a:pPr>
              <a:defRPr/>
            </a:pPr>
            <a:endParaRPr lang="en-US">
              <a:ea typeface="Calibri"/>
              <a:cs typeface="Calibri"/>
            </a:endParaRPr>
          </a:p>
          <a:p>
            <a:pPr>
              <a:defRPr/>
            </a:pPr>
            <a:r>
              <a:rPr lang="en-US">
                <a:ea typeface="Calibri"/>
                <a:cs typeface="Calibri"/>
              </a:rPr>
              <a:t>Lastly, Zone 3 takes Zone 2 a step further by exclusively building and managing enterprise-wide agents. These are the most critical agents in your organization to secure due to how broadly these agents are shared, often times the knowledge/data these agents have access to, and the orchestration models these agents leverage. As such these agents must go through the full scrutiny of organization-standard ALM practices. These agents are often built by professional developers in collaboration with IT as they require custom coding capabilities and the highest quality agent security and deployment possible.</a:t>
            </a:r>
          </a:p>
          <a:p>
            <a:pPr>
              <a:defRPr/>
            </a:pPr>
            <a:endParaRPr lang="en-US">
              <a:ea typeface="Calibri"/>
              <a:cs typeface="Calibri"/>
            </a:endParaRPr>
          </a:p>
        </p:txBody>
      </p:sp>
      <p:sp>
        <p:nvSpPr>
          <p:cNvPr id="4" name="Slide Number Placeholder 3">
            <a:extLst>
              <a:ext uri="{FF2B5EF4-FFF2-40B4-BE49-F238E27FC236}">
                <a16:creationId xmlns:a16="http://schemas.microsoft.com/office/drawing/2014/main" id="{251156AC-B0F6-A2B3-5721-210FB75EC5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68613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1B91A-B27B-E494-7E2C-2E8FC1D9DB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423E99-9ADA-4409-8742-C067F1B74C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AF72E9-9860-A82C-EBF4-8311495C61DC}"/>
              </a:ext>
            </a:extLst>
          </p:cNvPr>
          <p:cNvSpPr>
            <a:spLocks noGrp="1"/>
          </p:cNvSpPr>
          <p:nvPr>
            <p:ph type="body" idx="1"/>
          </p:nvPr>
        </p:nvSpPr>
        <p:spPr/>
        <p:txBody>
          <a:bodyPr/>
          <a:lstStyle/>
          <a:p>
            <a:r>
              <a:rPr lang="en-US"/>
              <a:t>Managed Platform is the runway. </a:t>
            </a:r>
            <a:r>
              <a:rPr lang="en-US" b="1"/>
              <a:t>Zoned Governance</a:t>
            </a:r>
            <a:r>
              <a:rPr lang="en-US"/>
              <a:t> tells us </a:t>
            </a:r>
            <a:r>
              <a:rPr lang="en-US" i="1"/>
              <a:t>which</a:t>
            </a:r>
            <a:r>
              <a:rPr lang="en-US"/>
              <a:t> runway a maker lands on: Personal, Guided, Enterprise.</a:t>
            </a:r>
          </a:p>
          <a:p>
            <a:r>
              <a:rPr lang="en-US"/>
              <a:t>Within each zone we apply three escalating disciplines—</a:t>
            </a:r>
            <a:r>
              <a:rPr lang="en-US" b="1"/>
              <a:t>Secure, Control, Track &amp; Refine</a:t>
            </a:r>
            <a:endParaRPr lang="en-US"/>
          </a:p>
          <a:p>
            <a:endParaRPr lang="en-US"/>
          </a:p>
        </p:txBody>
      </p:sp>
      <p:sp>
        <p:nvSpPr>
          <p:cNvPr id="4" name="Slide Number Placeholder 3">
            <a:extLst>
              <a:ext uri="{FF2B5EF4-FFF2-40B4-BE49-F238E27FC236}">
                <a16:creationId xmlns:a16="http://schemas.microsoft.com/office/drawing/2014/main" id="{F37DD642-5202-80E0-4C01-6798CF19B2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95227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70694A-E6E6-2D91-3E4D-205050AB2D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FBC85B-5AAB-5351-432E-16ED93969F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C18926-5056-D8C4-634D-F2C8F07B313E}"/>
              </a:ext>
            </a:extLst>
          </p:cNvPr>
          <p:cNvSpPr>
            <a:spLocks noGrp="1"/>
          </p:cNvSpPr>
          <p:nvPr>
            <p:ph type="body" idx="1"/>
          </p:nvPr>
        </p:nvSpPr>
        <p:spPr/>
        <p:txBody>
          <a:bodyPr/>
          <a:lstStyle/>
          <a:p>
            <a:pPr marL="0" marR="0">
              <a:lnSpc>
                <a:spcPct val="107000"/>
              </a:lnSpc>
              <a:spcBef>
                <a:spcPts val="0"/>
              </a:spcBef>
              <a:spcAft>
                <a:spcPts val="800"/>
              </a:spcAft>
            </a:pPr>
            <a:r>
              <a:rPr lang="en-US">
                <a:solidFill>
                  <a:srgbClr val="FF0000"/>
                </a:solidFill>
                <a:latin typeface="Segoe UI Semilight"/>
                <a:cs typeface="Segoe UI Semilight"/>
              </a:rPr>
              <a:t>MAC – regarding Copilot settings currently more link list to settings in different admin centers</a:t>
            </a:r>
          </a:p>
        </p:txBody>
      </p:sp>
      <p:sp>
        <p:nvSpPr>
          <p:cNvPr id="4" name="Slide Number Placeholder 3">
            <a:extLst>
              <a:ext uri="{FF2B5EF4-FFF2-40B4-BE49-F238E27FC236}">
                <a16:creationId xmlns:a16="http://schemas.microsoft.com/office/drawing/2014/main" id="{C3B8A26D-3176-7A52-4C8C-7E9ADE97B1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FAE4DC-3345-48D1-9321-8ABBF0810FC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137055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0318D8-07A3-F445-E10C-51BB44C988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AC4DEF-8FB1-39BB-25BE-1350D64A73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26C11A-8236-54A3-61BA-665C898F791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27953D2-C6C6-910D-6440-1CCB058284A8}"/>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5" name="Footer Placeholder 4">
            <a:extLst>
              <a:ext uri="{FF2B5EF4-FFF2-40B4-BE49-F238E27FC236}">
                <a16:creationId xmlns:a16="http://schemas.microsoft.com/office/drawing/2014/main" id="{B0BDF25B-701B-050A-1CF3-E6E7BC5DE9DD}"/>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Sans Display" pitchFamily="2" charset="0"/>
                <a:ea typeface="Segoe UI" pitchFamily="34" charset="0"/>
                <a:cs typeface="Segoe Sans Display" pitchFamily="2"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5A6ADA3-DBC2-CC55-B4DB-0C51E3B5412A}"/>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2026 4:50 PM</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
        <p:nvSpPr>
          <p:cNvPr id="7" name="Slide Number Placeholder 6">
            <a:extLst>
              <a:ext uri="{FF2B5EF4-FFF2-40B4-BE49-F238E27FC236}">
                <a16:creationId xmlns:a16="http://schemas.microsoft.com/office/drawing/2014/main" id="{328414A3-C16E-66CB-DA8D-8DF3BD59193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7832863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8B471-44E0-1D23-57C8-3C46DBAA45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72389D-A2BF-B167-AFBE-19C38BD84FF9}"/>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60F24D4E-C0BC-7CEE-9CBC-1881ED63E099}"/>
              </a:ext>
            </a:extLst>
          </p:cNvPr>
          <p:cNvSpPr>
            <a:spLocks noGrp="1"/>
          </p:cNvSpPr>
          <p:nvPr>
            <p:ph type="body" idx="1"/>
          </p:nvPr>
        </p:nvSpPr>
        <p:spPr/>
        <p:txBody>
          <a:bodyPr/>
          <a:lstStyle/>
          <a:p>
            <a:pPr lvl="0"/>
            <a:r>
              <a:rPr lang="en-US" sz="1900" kern="1200">
                <a:solidFill>
                  <a:schemeClr val="tx1"/>
                </a:solidFill>
                <a:effectLst/>
                <a:latin typeface="+mn-lt"/>
                <a:ea typeface="+mn-ea"/>
                <a:cs typeface="+mn-cs"/>
              </a:rPr>
              <a:t>We are excited to </a:t>
            </a:r>
            <a:r>
              <a:rPr lang="en-US" sz="1900" b="0" kern="1200">
                <a:solidFill>
                  <a:schemeClr val="tx1"/>
                </a:solidFill>
                <a:effectLst/>
                <a:latin typeface="+mn-lt"/>
                <a:ea typeface="+mn-ea"/>
                <a:cs typeface="+mn-cs"/>
              </a:rPr>
              <a:t>announce Agent 365 available in our frontier program today</a:t>
            </a:r>
            <a:r>
              <a:rPr lang="en-US" sz="1900" b="1" kern="1200">
                <a:solidFill>
                  <a:schemeClr val="tx1"/>
                </a:solidFill>
                <a:effectLst/>
                <a:latin typeface="+mn-lt"/>
                <a:ea typeface="+mn-ea"/>
                <a:cs typeface="+mn-cs"/>
              </a:rPr>
              <a:t>.</a:t>
            </a:r>
          </a:p>
          <a:p>
            <a:pPr lvl="0"/>
            <a:endParaRPr lang="en-US" sz="1900" kern="1200">
              <a:solidFill>
                <a:schemeClr val="tx1"/>
              </a:solidFill>
              <a:effectLst/>
              <a:latin typeface="+mn-lt"/>
              <a:ea typeface="+mn-ea"/>
              <a:cs typeface="+mn-cs"/>
            </a:endParaRPr>
          </a:p>
          <a:p>
            <a:pPr lvl="0"/>
            <a:r>
              <a:rPr lang="en-US" sz="1900" kern="1200">
                <a:solidFill>
                  <a:schemeClr val="tx1"/>
                </a:solidFill>
                <a:effectLst/>
                <a:latin typeface="+mn-lt"/>
                <a:ea typeface="+mn-ea"/>
                <a:cs typeface="+mn-cs"/>
              </a:rPr>
              <a:t>Agent 365 is your agent control plane. </a:t>
            </a:r>
            <a:endParaRPr lang="en-US"/>
          </a:p>
        </p:txBody>
      </p:sp>
      <p:sp>
        <p:nvSpPr>
          <p:cNvPr id="4" name="Slide Number Placeholder 3">
            <a:extLst>
              <a:ext uri="{FF2B5EF4-FFF2-40B4-BE49-F238E27FC236}">
                <a16:creationId xmlns:a16="http://schemas.microsoft.com/office/drawing/2014/main" id="{E64B23E2-63C6-C44D-2A29-83838F1C568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FABD56-7E30-471F-B77B-F411599753D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37058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34229-7C08-C1A4-C508-C552CF2E45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2D982A-3736-33F8-A992-CC1A0D2A40D9}"/>
              </a:ext>
            </a:extLst>
          </p:cNvPr>
          <p:cNvSpPr>
            <a:spLocks noGrp="1" noRot="1" noChangeAspect="1"/>
          </p:cNvSpPr>
          <p:nvPr>
            <p:ph type="sldImg"/>
          </p:nvPr>
        </p:nvSpPr>
        <p:spPr>
          <a:xfrm>
            <a:off x="685800" y="1143000"/>
            <a:ext cx="5486400" cy="3086100"/>
          </a:xfrm>
        </p:spPr>
        <p:txBody>
          <a:bodyPr/>
          <a:lstStyle/>
          <a:p>
            <a:endParaRPr lang="en-US"/>
          </a:p>
        </p:txBody>
      </p:sp>
      <p:sp>
        <p:nvSpPr>
          <p:cNvPr id="3" name="Notes Placeholder 2">
            <a:extLst>
              <a:ext uri="{FF2B5EF4-FFF2-40B4-BE49-F238E27FC236}">
                <a16:creationId xmlns:a16="http://schemas.microsoft.com/office/drawing/2014/main" id="{9EB73893-D6AB-0F4B-B6DB-0F0BBBAC794F}"/>
              </a:ext>
            </a:extLst>
          </p:cNvPr>
          <p:cNvSpPr>
            <a:spLocks noGrp="1"/>
          </p:cNvSpPr>
          <p:nvPr>
            <p:ph type="body" idx="1"/>
          </p:nvPr>
        </p:nvSpPr>
        <p:spPr/>
        <p:txBody>
          <a:bodyPr/>
          <a:lstStyle/>
          <a:p>
            <a:r>
              <a:rPr lang="en-US" sz="1800" kern="1200">
                <a:solidFill>
                  <a:schemeClr val="tx1"/>
                </a:solidFill>
                <a:effectLst/>
                <a:latin typeface="+mn-lt"/>
                <a:ea typeface="+mn-ea"/>
                <a:cs typeface="+mn-cs"/>
              </a:rPr>
              <a:t>And finally, it provides a safe and secure way for agents to connect to your data, communication and collaboration in the Microsoft ecosystem. A safe way for other agents to use your Work IQ. </a:t>
            </a:r>
          </a:p>
          <a:p>
            <a:endParaRPr lang="en-US" sz="1800">
              <a:ea typeface="Calibri"/>
              <a:cs typeface="Calibri"/>
            </a:endParaRPr>
          </a:p>
          <a:p>
            <a:pPr marL="0" marR="0" lvl="0" indent="0" algn="l" defTabSz="1447559" rtl="0" eaLnBrk="1" fontAlgn="auto" latinLnBrk="0" hangingPunct="1">
              <a:lnSpc>
                <a:spcPct val="100000"/>
              </a:lnSpc>
              <a:spcBef>
                <a:spcPts val="0"/>
              </a:spcBef>
              <a:spcAft>
                <a:spcPts val="0"/>
              </a:spcAft>
              <a:buClrTx/>
              <a:buSzTx/>
              <a:buFontTx/>
              <a:buNone/>
              <a:tabLst/>
              <a:defRPr/>
            </a:pPr>
            <a:r>
              <a:rPr lang="en-US" sz="1800" kern="1200">
                <a:solidFill>
                  <a:schemeClr val="tx1"/>
                </a:solidFill>
                <a:effectLst/>
                <a:latin typeface="+mn-lt"/>
                <a:ea typeface="+mn-ea"/>
                <a:cs typeface="+mn-cs"/>
              </a:rPr>
              <a:t>And the best infrastructure for managing agents is the one you already use to protect devices, apps, and people.</a:t>
            </a:r>
          </a:p>
          <a:p>
            <a:pPr marL="0" marR="0" lvl="0" indent="0" algn="l" defTabSz="1447559" rtl="0" eaLnBrk="1" fontAlgn="auto" latinLnBrk="0" hangingPunct="1">
              <a:lnSpc>
                <a:spcPct val="100000"/>
              </a:lnSpc>
              <a:spcBef>
                <a:spcPts val="0"/>
              </a:spcBef>
              <a:spcAft>
                <a:spcPts val="0"/>
              </a:spcAft>
              <a:buClrTx/>
              <a:buSzTx/>
              <a:buFontTx/>
              <a:buNone/>
              <a:tabLst/>
              <a:defRPr/>
            </a:pPr>
            <a:endParaRPr lang="en-US" sz="1800" kern="1200">
              <a:solidFill>
                <a:schemeClr val="tx1"/>
              </a:solidFill>
              <a:effectLst/>
              <a:latin typeface="+mn-lt"/>
              <a:ea typeface="+mn-ea"/>
              <a:cs typeface="+mn-cs"/>
            </a:endParaRPr>
          </a:p>
          <a:p>
            <a:pPr marL="0" marR="0" lvl="0" indent="0" algn="l" defTabSz="1447559" rtl="0" eaLnBrk="1" fontAlgn="auto" latinLnBrk="0" hangingPunct="1">
              <a:lnSpc>
                <a:spcPct val="100000"/>
              </a:lnSpc>
              <a:spcBef>
                <a:spcPts val="0"/>
              </a:spcBef>
              <a:spcAft>
                <a:spcPts val="0"/>
              </a:spcAft>
              <a:buClrTx/>
              <a:buSzTx/>
              <a:buFontTx/>
              <a:buNone/>
              <a:tabLst/>
              <a:defRPr/>
            </a:pPr>
            <a:r>
              <a:rPr lang="en-US" sz="1800" kern="1200">
                <a:solidFill>
                  <a:schemeClr val="tx1"/>
                </a:solidFill>
                <a:effectLst/>
                <a:latin typeface="+mn-lt"/>
                <a:ea typeface="+mn-ea"/>
                <a:cs typeface="+mn-cs"/>
              </a:rPr>
              <a:t>So all these capabilities integrate into the existing products and tools you use from Microsoft today. </a:t>
            </a:r>
          </a:p>
          <a:p>
            <a:pPr marL="0" marR="0" lvl="0" indent="0" algn="l" defTabSz="1447559" rtl="0" eaLnBrk="1" fontAlgn="auto" latinLnBrk="0" hangingPunct="1">
              <a:lnSpc>
                <a:spcPct val="100000"/>
              </a:lnSpc>
              <a:spcBef>
                <a:spcPts val="0"/>
              </a:spcBef>
              <a:spcAft>
                <a:spcPts val="0"/>
              </a:spcAft>
              <a:buClrTx/>
              <a:buSzTx/>
              <a:buFontTx/>
              <a:buNone/>
              <a:tabLst/>
              <a:defRPr/>
            </a:pPr>
            <a:r>
              <a:rPr lang="en-US" sz="1800" kern="1200">
                <a:solidFill>
                  <a:schemeClr val="tx1"/>
                </a:solidFill>
                <a:effectLst/>
                <a:latin typeface="+mn-lt"/>
                <a:ea typeface="+mn-ea"/>
                <a:cs typeface="+mn-cs"/>
              </a:rPr>
              <a:t> &lt;CLICK&gt;</a:t>
            </a:r>
          </a:p>
          <a:p>
            <a:endParaRPr lang="en-US" sz="1800">
              <a:ea typeface="Calibri"/>
              <a:cs typeface="Calibri"/>
            </a:endParaRPr>
          </a:p>
        </p:txBody>
      </p:sp>
      <p:sp>
        <p:nvSpPr>
          <p:cNvPr id="4" name="Slide Number Placeholder 3">
            <a:extLst>
              <a:ext uri="{FF2B5EF4-FFF2-40B4-BE49-F238E27FC236}">
                <a16:creationId xmlns:a16="http://schemas.microsoft.com/office/drawing/2014/main" id="{37DF71A7-6554-7407-5F3E-CC45DADD862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FABD56-7E30-471F-B77B-F411599753D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847311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720BC-4FAA-2416-4774-67F8813CDC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45C5C2-A50F-3B4D-17F8-E97C04F920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FDC1A2-DCBA-8FA3-E187-1926F1AAFD8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654726-4641-CB71-8E21-740E37DA7BA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4265926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3.png"/><Relationship Id="rId1" Type="http://schemas.openxmlformats.org/officeDocument/2006/relationships/slideMaster" Target="../slideMasters/slideMaster3.xml"/><Relationship Id="rId5" Type="http://schemas.openxmlformats.org/officeDocument/2006/relationships/image" Target="../media/image45.png"/><Relationship Id="rId4" Type="http://schemas.openxmlformats.org/officeDocument/2006/relationships/image" Target="../media/image44.png"/></Relationships>
</file>

<file path=ppt/slideLayouts/_rels/slideLayout1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3.png"/><Relationship Id="rId1" Type="http://schemas.openxmlformats.org/officeDocument/2006/relationships/slideMaster" Target="../slideMasters/slideMaster3.xml"/><Relationship Id="rId6" Type="http://schemas.openxmlformats.org/officeDocument/2006/relationships/image" Target="../media/image46.png"/><Relationship Id="rId5" Type="http://schemas.openxmlformats.org/officeDocument/2006/relationships/image" Target="../media/image44.png"/><Relationship Id="rId4" Type="http://schemas.openxmlformats.org/officeDocument/2006/relationships/image" Target="../media/image45.pn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8.png"/><Relationship Id="rId1" Type="http://schemas.openxmlformats.org/officeDocument/2006/relationships/slideMaster" Target="../slideMasters/slideMaster3.xml"/><Relationship Id="rId4" Type="http://schemas.openxmlformats.org/officeDocument/2006/relationships/image" Target="../media/image44.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5.png"/><Relationship Id="rId1" Type="http://schemas.openxmlformats.org/officeDocument/2006/relationships/slideMaster" Target="../slideMasters/slideMaster3.xml"/><Relationship Id="rId4" Type="http://schemas.microsoft.com/office/2007/relationships/hdphoto" Target="../media/hdphoto4.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4.xml"/><Relationship Id="rId4" Type="http://schemas.openxmlformats.org/officeDocument/2006/relationships/image" Target="../media/image52.jpeg"/></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53.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53.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xml"/><Relationship Id="rId4" Type="http://schemas.openxmlformats.org/officeDocument/2006/relationships/image" Target="../media/image57.emf"/></Relationships>
</file>

<file path=ppt/slideLayouts/_rels/slideLayout1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 Id="rId5" Type="http://schemas.openxmlformats.org/officeDocument/2006/relationships/image" Target="../media/image63.svg"/><Relationship Id="rId4" Type="http://schemas.openxmlformats.org/officeDocument/2006/relationships/image" Target="../media/image62.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66.emf"/><Relationship Id="rId2" Type="http://schemas.openxmlformats.org/officeDocument/2006/relationships/image" Target="../media/image67.jpeg"/><Relationship Id="rId1" Type="http://schemas.openxmlformats.org/officeDocument/2006/relationships/slideMaster" Target="../slideMasters/slideMaster8.xml"/><Relationship Id="rId6" Type="http://schemas.openxmlformats.org/officeDocument/2006/relationships/image" Target="../media/image70.svg"/><Relationship Id="rId5" Type="http://schemas.openxmlformats.org/officeDocument/2006/relationships/image" Target="../media/image69.png"/><Relationship Id="rId4" Type="http://schemas.microsoft.com/office/2007/relationships/hdphoto" Target="../media/hdphoto6.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66.emf"/><Relationship Id="rId2" Type="http://schemas.openxmlformats.org/officeDocument/2006/relationships/image" Target="../media/image67.jpeg"/><Relationship Id="rId1" Type="http://schemas.openxmlformats.org/officeDocument/2006/relationships/slideMaster" Target="../slideMasters/slideMaster8.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72.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8.xml"/><Relationship Id="rId6" Type="http://schemas.openxmlformats.org/officeDocument/2006/relationships/image" Target="../media/image66.emf"/><Relationship Id="rId5" Type="http://schemas.openxmlformats.org/officeDocument/2006/relationships/image" Target="../media/image76.svg"/><Relationship Id="rId4" Type="http://schemas.openxmlformats.org/officeDocument/2006/relationships/image" Target="../media/image75.png"/></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8.png"/><Relationship Id="rId7" Type="http://schemas.openxmlformats.org/officeDocument/2006/relationships/image" Target="../media/image75.png"/><Relationship Id="rId2" Type="http://schemas.openxmlformats.org/officeDocument/2006/relationships/image" Target="../media/image77.jpeg"/><Relationship Id="rId1" Type="http://schemas.openxmlformats.org/officeDocument/2006/relationships/slideMaster" Target="../slideMasters/slideMaster8.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66.emf"/></Relationships>
</file>

<file path=ppt/slideLayouts/_rels/slideLayout20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4" Type="http://schemas.openxmlformats.org/officeDocument/2006/relationships/image" Target="../media/image66.emf"/></Relationships>
</file>

<file path=ppt/slideLayouts/_rels/slideLayout204.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6" Type="http://schemas.openxmlformats.org/officeDocument/2006/relationships/image" Target="../media/image66.emf"/><Relationship Id="rId5" Type="http://schemas.microsoft.com/office/2007/relationships/hdphoto" Target="../media/hdphoto6.wdp"/><Relationship Id="rId4" Type="http://schemas.openxmlformats.org/officeDocument/2006/relationships/image" Target="../media/image68.png"/></Relationships>
</file>

<file path=ppt/slideLayouts/_rels/slideLayout20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6" Type="http://schemas.openxmlformats.org/officeDocument/2006/relationships/image" Target="../media/image66.emf"/><Relationship Id="rId5" Type="http://schemas.microsoft.com/office/2007/relationships/hdphoto" Target="../media/hdphoto6.wdp"/><Relationship Id="rId4" Type="http://schemas.openxmlformats.org/officeDocument/2006/relationships/image" Target="../media/image68.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67.jpeg"/><Relationship Id="rId1" Type="http://schemas.openxmlformats.org/officeDocument/2006/relationships/slideMaster" Target="../slideMasters/slideMaster8.xml"/><Relationship Id="rId6" Type="http://schemas.openxmlformats.org/officeDocument/2006/relationships/image" Target="../media/image66.emf"/><Relationship Id="rId5" Type="http://schemas.openxmlformats.org/officeDocument/2006/relationships/image" Target="../media/image72.png"/><Relationship Id="rId4" Type="http://schemas.openxmlformats.org/officeDocument/2006/relationships/image" Target="../media/image71.pn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8.xml"/><Relationship Id="rId4" Type="http://schemas.openxmlformats.org/officeDocument/2006/relationships/image" Target="../media/image66.emf"/></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66.emf"/><Relationship Id="rId2" Type="http://schemas.openxmlformats.org/officeDocument/2006/relationships/image" Target="../media/image77.jpeg"/><Relationship Id="rId1" Type="http://schemas.openxmlformats.org/officeDocument/2006/relationships/slideMaster" Target="../slideMasters/slideMaster8.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Layouts/_rels/slideLayout20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6" Type="http://schemas.openxmlformats.org/officeDocument/2006/relationships/image" Target="../media/image66.emf"/><Relationship Id="rId5" Type="http://schemas.microsoft.com/office/2007/relationships/hdphoto" Target="../media/hdphoto6.wdp"/><Relationship Id="rId4" Type="http://schemas.openxmlformats.org/officeDocument/2006/relationships/image" Target="../media/image68.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5" Type="http://schemas.openxmlformats.org/officeDocument/2006/relationships/image" Target="../media/image66.emf"/><Relationship Id="rId4" Type="http://schemas.openxmlformats.org/officeDocument/2006/relationships/image" Target="../media/image72.png"/></Relationships>
</file>

<file path=ppt/slideLayouts/_rels/slideLayout21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4" Type="http://schemas.openxmlformats.org/officeDocument/2006/relationships/image" Target="../media/image66.emf"/></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77.jpe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83.jpe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84.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85.jpe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86.jpe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87.jpe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4" Type="http://schemas.openxmlformats.org/officeDocument/2006/relationships/image" Target="../media/image66.emf"/></Relationships>
</file>

<file path=ppt/slideLayouts/_rels/slideLayout21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4" Type="http://schemas.openxmlformats.org/officeDocument/2006/relationships/image" Target="../media/image66.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87.jpeg"/><Relationship Id="rId1" Type="http://schemas.openxmlformats.org/officeDocument/2006/relationships/slideMaster" Target="../slideMasters/slideMaster8.xml"/><Relationship Id="rId4" Type="http://schemas.openxmlformats.org/officeDocument/2006/relationships/image" Target="../media/image88.emf"/></Relationships>
</file>

<file path=ppt/slideLayouts/_rels/slideLayout222.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4" Type="http://schemas.openxmlformats.org/officeDocument/2006/relationships/image" Target="../media/image66.emf"/></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77.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4" Type="http://schemas.openxmlformats.org/officeDocument/2006/relationships/image" Target="../media/image66.emf"/></Relationships>
</file>

<file path=ppt/slideLayouts/_rels/slideLayout22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4" Type="http://schemas.openxmlformats.org/officeDocument/2006/relationships/image" Target="../media/image66.emf"/></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87.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8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7.jpeg"/><Relationship Id="rId1" Type="http://schemas.openxmlformats.org/officeDocument/2006/relationships/slideMaster" Target="../slideMasters/slideMaster8.xml"/><Relationship Id="rId5" Type="http://schemas.openxmlformats.org/officeDocument/2006/relationships/image" Target="../media/image66.emf"/><Relationship Id="rId4" Type="http://schemas.openxmlformats.org/officeDocument/2006/relationships/image" Target="../media/image90.jpe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87.jpeg"/><Relationship Id="rId1" Type="http://schemas.openxmlformats.org/officeDocument/2006/relationships/slideMaster" Target="../slideMasters/slideMaster8.xml"/><Relationship Id="rId6" Type="http://schemas.openxmlformats.org/officeDocument/2006/relationships/image" Target="../media/image66.emf"/><Relationship Id="rId5" Type="http://schemas.openxmlformats.org/officeDocument/2006/relationships/image" Target="../media/image93.png"/><Relationship Id="rId4" Type="http://schemas.openxmlformats.org/officeDocument/2006/relationships/image" Target="../media/image92.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4" Type="http://schemas.openxmlformats.org/officeDocument/2006/relationships/image" Target="../media/image66.emf"/></Relationships>
</file>

<file path=ppt/slideLayouts/_rels/slideLayout23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2.png"/><Relationship Id="rId1" Type="http://schemas.openxmlformats.org/officeDocument/2006/relationships/slideMaster" Target="../slideMasters/slideMaster8.xml"/><Relationship Id="rId6" Type="http://schemas.openxmlformats.org/officeDocument/2006/relationships/image" Target="../media/image66.emf"/><Relationship Id="rId5" Type="http://schemas.microsoft.com/office/2007/relationships/hdphoto" Target="../media/hdphoto6.wdp"/><Relationship Id="rId4" Type="http://schemas.openxmlformats.org/officeDocument/2006/relationships/image" Target="../media/image68.png"/></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Master" Target="../slideMasters/slideMaster8.xml"/><Relationship Id="rId4" Type="http://schemas.openxmlformats.org/officeDocument/2006/relationships/image" Target="../media/image93.pn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39.jpeg"/><Relationship Id="rId1" Type="http://schemas.openxmlformats.org/officeDocument/2006/relationships/slideMaster" Target="../slideMasters/slideMaster9.xml"/><Relationship Id="rId4" Type="http://schemas.openxmlformats.org/officeDocument/2006/relationships/image" Target="../media/image10.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Master" Target="../slideMasters/slideMaster9.xml"/><Relationship Id="rId4" Type="http://schemas.openxmlformats.org/officeDocument/2006/relationships/image" Target="../media/image10.emf"/></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6.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Master" Target="../slideMasters/slideMaster9.xml"/><Relationship Id="rId4" Type="http://schemas.openxmlformats.org/officeDocument/2006/relationships/image" Target="../media/image99.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5.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5.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34.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0"/>
            <a:ext cx="12379568" cy="4331731"/>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207695"/>
            <a:ext cx="4412673" cy="1354217"/>
          </a:xfrm>
          <a:noFill/>
        </p:spPr>
        <p:txBody>
          <a:bodyPr wrap="square" lIns="0" tIns="0" rIns="0" bIns="0" anchor="b" anchorCtr="0">
            <a:spAutoFit/>
          </a:bodyPr>
          <a:lstStyle>
            <a:lvl1pPr>
              <a:defRPr lang="en-US" sz="44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412673" cy="369332"/>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sz="2400"/>
              <a:t>Subtitle</a:t>
            </a:r>
            <a:endParaRPr lang="en-US"/>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270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hasCustomPrompt="1"/>
          </p:nvPr>
        </p:nvSpPr>
        <p:spPr>
          <a:xfrm>
            <a:off x="588263" y="2309812"/>
            <a:ext cx="3178980" cy="3959222"/>
          </a:xfrm>
        </p:spPr>
        <p:txBody>
          <a:bodyPr anchor="t" anchorCtr="0"/>
          <a:lstStyle>
            <a:lvl1pPr>
              <a:defRPr lang="en-US" sz="2800" b="0" kern="1200" cap="none" spc="-50" baseline="0" dirty="0">
                <a:ln w="3175">
                  <a:noFill/>
                </a:ln>
                <a:gradFill>
                  <a:gsLst>
                    <a:gs pos="22000">
                      <a:schemeClr val="accent2"/>
                    </a:gs>
                    <a:gs pos="100000">
                      <a:schemeClr val="accent3"/>
                    </a:gs>
                  </a:gsLst>
                  <a:lin ang="2400000" scaled="0"/>
                </a:gradFill>
                <a:effectLst/>
                <a:latin typeface="+mj-lt"/>
                <a:ea typeface="+mn-ea"/>
                <a:cs typeface="Segoe UI" pitchFamily="34" charset="0"/>
              </a:defRPr>
            </a:lvl1pPr>
          </a:lstStyle>
          <a:p>
            <a:r>
              <a:rPr lang="en-US"/>
              <a:t>Title</a:t>
            </a:r>
          </a:p>
        </p:txBody>
      </p:sp>
      <p:sp>
        <p:nvSpPr>
          <p:cNvPr id="6" name="Text Placeholder 2">
            <a:extLst>
              <a:ext uri="{FF2B5EF4-FFF2-40B4-BE49-F238E27FC236}">
                <a16:creationId xmlns:a16="http://schemas.microsoft.com/office/drawing/2014/main" id="{FD55DC90-96BB-0B22-12A0-75FE75C2C244}"/>
              </a:ext>
            </a:extLst>
          </p:cNvPr>
          <p:cNvSpPr>
            <a:spLocks noGrp="1"/>
          </p:cNvSpPr>
          <p:nvPr>
            <p:ph type="body" sz="quarter" idx="11"/>
          </p:nvPr>
        </p:nvSpPr>
        <p:spPr>
          <a:xfrm>
            <a:off x="4356100" y="2309812"/>
            <a:ext cx="7253288" cy="3959223"/>
          </a:xfrm>
        </p:spPr>
        <p:txBody>
          <a:bodyPr anchor="t"/>
          <a:lstStyle>
            <a:lvl1pPr marL="231775" indent="-231775">
              <a:spcBef>
                <a:spcPts val="1800"/>
              </a:spcBef>
              <a:spcAft>
                <a:spcPts val="600"/>
              </a:spcAft>
              <a:buFont typeface="Arial" panose="020B0604020202020204" pitchFamily="34" charset="0"/>
              <a:buChar char="•"/>
              <a:defRPr sz="1800"/>
            </a:lvl1pPr>
          </a:lstStyle>
          <a:p>
            <a:pPr lvl="0"/>
            <a:r>
              <a:rPr lang="en-US"/>
              <a:t>Click to edit Master text styles</a:t>
            </a:r>
          </a:p>
        </p:txBody>
      </p:sp>
      <p:cxnSp>
        <p:nvCxnSpPr>
          <p:cNvPr id="8" name="Straight Connector 7">
            <a:extLst>
              <a:ext uri="{FF2B5EF4-FFF2-40B4-BE49-F238E27FC236}">
                <a16:creationId xmlns:a16="http://schemas.microsoft.com/office/drawing/2014/main" id="{D301ED40-B32E-3F97-86BC-7F717EDF07C4}"/>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noFill/>
          <a:ln w="12700">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 name="Straight Connector 10">
            <a:extLst>
              <a:ext uri="{FF2B5EF4-FFF2-40B4-BE49-F238E27FC236}">
                <a16:creationId xmlns:a16="http://schemas.microsoft.com/office/drawing/2014/main" id="{A75B93E4-2B6A-C51B-F70E-802AF87CB943}"/>
              </a:ext>
            </a:extLst>
          </p:cNvPr>
          <p:cNvCxnSpPr/>
          <p:nvPr userDrawn="1"/>
        </p:nvCxnSpPr>
        <p:spPr>
          <a:xfrm>
            <a:off x="585216" y="2013814"/>
            <a:ext cx="3291840" cy="0"/>
          </a:xfrm>
          <a:prstGeom prst="line">
            <a:avLst/>
          </a:prstGeom>
          <a:noFill/>
          <a:ln w="12700">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4304100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
        <p:nvSpPr>
          <p:cNvPr id="10" name="Text Placeholder 11">
            <a:extLst>
              <a:ext uri="{FF2B5EF4-FFF2-40B4-BE49-F238E27FC236}">
                <a16:creationId xmlns:a16="http://schemas.microsoft.com/office/drawing/2014/main" id="{86E03C92-DE23-2C43-07EE-49514B3D2740}"/>
              </a:ext>
            </a:extLst>
          </p:cNvPr>
          <p:cNvSpPr>
            <a:spLocks noGrp="1"/>
          </p:cNvSpPr>
          <p:nvPr>
            <p:ph type="body" sz="quarter" idx="16" hasCustomPrompt="1"/>
          </p:nvPr>
        </p:nvSpPr>
        <p:spPr>
          <a:xfrm>
            <a:off x="585217" y="316933"/>
            <a:ext cx="3536997" cy="338554"/>
          </a:xfrm>
        </p:spPr>
        <p:txBody>
          <a:bodyPr anchor="t"/>
          <a:lstStyle>
            <a:lvl1pPr marL="0" indent="0" algn="l" defTabSz="914367" rtl="0" eaLnBrk="1" latinLnBrk="0" hangingPunct="1">
              <a:spcBef>
                <a:spcPts val="0"/>
              </a:spcBef>
              <a:buNone/>
              <a:defRPr lang="en-US" sz="1600" kern="1200" dirty="0">
                <a:solidFill>
                  <a:schemeClr val="tx1"/>
                </a:solidFill>
                <a:latin typeface="+mj-lt"/>
                <a:ea typeface="+mn-ea"/>
                <a:cs typeface="+mn-cs"/>
              </a:defRPr>
            </a:lvl1pPr>
          </a:lstStyle>
          <a:p>
            <a:pPr lvl="0"/>
            <a:r>
              <a:rPr lang="en-US"/>
              <a:t>Click to edit text styles</a:t>
            </a:r>
          </a:p>
        </p:txBody>
      </p:sp>
    </p:spTree>
    <p:extLst>
      <p:ext uri="{BB962C8B-B14F-4D97-AF65-F5344CB8AC3E}">
        <p14:creationId xmlns:p14="http://schemas.microsoft.com/office/powerpoint/2010/main" val="18551611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955445-9897-4F4A-1AC6-E3E7C73BEB1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64787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41677842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hasCustomPrompt="1"/>
          </p:nvPr>
        </p:nvSpPr>
        <p:spPr>
          <a:xfrm>
            <a:off x="588263" y="2309812"/>
            <a:ext cx="3178980" cy="3959222"/>
          </a:xfrm>
        </p:spPr>
        <p:txBody>
          <a:bodyPr anchor="t" anchorCtr="0"/>
          <a:lstStyle>
            <a:lvl1pPr>
              <a:defRPr lang="en-US" sz="2800" b="0" kern="1200" cap="none" spc="-50" baseline="0" dirty="0">
                <a:ln w="3175">
                  <a:noFill/>
                </a:ln>
                <a:gradFill>
                  <a:gsLst>
                    <a:gs pos="22000">
                      <a:schemeClr val="accent2"/>
                    </a:gs>
                    <a:gs pos="100000">
                      <a:schemeClr val="accent3"/>
                    </a:gs>
                  </a:gsLst>
                  <a:lin ang="2400000" scaled="0"/>
                </a:gradFill>
                <a:effectLst/>
                <a:latin typeface="+mj-lt"/>
                <a:ea typeface="+mn-ea"/>
                <a:cs typeface="Segoe UI" pitchFamily="34" charset="0"/>
              </a:defRPr>
            </a:lvl1pPr>
          </a:lstStyle>
          <a:p>
            <a:r>
              <a:rPr lang="en-US"/>
              <a:t>Title</a:t>
            </a:r>
          </a:p>
        </p:txBody>
      </p:sp>
      <p:sp>
        <p:nvSpPr>
          <p:cNvPr id="6" name="Text Placeholder 2">
            <a:extLst>
              <a:ext uri="{FF2B5EF4-FFF2-40B4-BE49-F238E27FC236}">
                <a16:creationId xmlns:a16="http://schemas.microsoft.com/office/drawing/2014/main" id="{FD55DC90-96BB-0B22-12A0-75FE75C2C244}"/>
              </a:ext>
            </a:extLst>
          </p:cNvPr>
          <p:cNvSpPr>
            <a:spLocks noGrp="1"/>
          </p:cNvSpPr>
          <p:nvPr>
            <p:ph type="body" sz="quarter" idx="11"/>
          </p:nvPr>
        </p:nvSpPr>
        <p:spPr>
          <a:xfrm>
            <a:off x="4356100" y="2309812"/>
            <a:ext cx="7253288" cy="3959223"/>
          </a:xfrm>
        </p:spPr>
        <p:txBody>
          <a:bodyPr anchor="t"/>
          <a:lstStyle>
            <a:lvl1pPr marL="231775" indent="-231775">
              <a:spcBef>
                <a:spcPts val="1800"/>
              </a:spcBef>
              <a:spcAft>
                <a:spcPts val="600"/>
              </a:spcAft>
              <a:buFont typeface="Arial" panose="020B0604020202020204" pitchFamily="34" charset="0"/>
              <a:buChar char="•"/>
              <a:defRPr sz="1800"/>
            </a:lvl1pPr>
          </a:lstStyle>
          <a:p>
            <a:pPr lvl="0"/>
            <a:r>
              <a:rPr lang="en-US"/>
              <a:t>Click to edit Master text styles</a:t>
            </a:r>
          </a:p>
        </p:txBody>
      </p:sp>
      <p:cxnSp>
        <p:nvCxnSpPr>
          <p:cNvPr id="8" name="Straight Connector 7">
            <a:extLst>
              <a:ext uri="{FF2B5EF4-FFF2-40B4-BE49-F238E27FC236}">
                <a16:creationId xmlns:a16="http://schemas.microsoft.com/office/drawing/2014/main" id="{D301ED40-B32E-3F97-86BC-7F717EDF07C4}"/>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noFill/>
          <a:ln w="12700">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 name="Straight Connector 10">
            <a:extLst>
              <a:ext uri="{FF2B5EF4-FFF2-40B4-BE49-F238E27FC236}">
                <a16:creationId xmlns:a16="http://schemas.microsoft.com/office/drawing/2014/main" id="{A75B93E4-2B6A-C51B-F70E-802AF87CB943}"/>
              </a:ext>
            </a:extLst>
          </p:cNvPr>
          <p:cNvCxnSpPr/>
          <p:nvPr userDrawn="1"/>
        </p:nvCxnSpPr>
        <p:spPr>
          <a:xfrm>
            <a:off x="585216" y="2013814"/>
            <a:ext cx="3291840" cy="0"/>
          </a:xfrm>
          <a:prstGeom prst="line">
            <a:avLst/>
          </a:prstGeom>
          <a:noFill/>
          <a:ln w="12700">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5579659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8831762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8E18B7EF-51F4-0AF3-B6B2-14F3663B476B}"/>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7" name="Text Placeholder 11">
            <a:extLst>
              <a:ext uri="{FF2B5EF4-FFF2-40B4-BE49-F238E27FC236}">
                <a16:creationId xmlns:a16="http://schemas.microsoft.com/office/drawing/2014/main" id="{9AC98D00-037E-AA9F-9072-F66D12F7D7B2}"/>
              </a:ext>
            </a:extLst>
          </p:cNvPr>
          <p:cNvSpPr>
            <a:spLocks noGrp="1"/>
          </p:cNvSpPr>
          <p:nvPr>
            <p:ph type="body" sz="quarter" idx="16" hasCustomPrompt="1"/>
          </p:nvPr>
        </p:nvSpPr>
        <p:spPr>
          <a:xfrm>
            <a:off x="585217" y="316933"/>
            <a:ext cx="3536997" cy="338554"/>
          </a:xfrm>
        </p:spPr>
        <p:txBody>
          <a:bodyPr anchor="t"/>
          <a:lstStyle>
            <a:lvl1pPr marL="0" indent="0" algn="l" defTabSz="914367" rtl="0" eaLnBrk="1" latinLnBrk="0" hangingPunct="1">
              <a:spcBef>
                <a:spcPts val="0"/>
              </a:spcBef>
              <a:buNone/>
              <a:defRPr lang="en-US" sz="1600" kern="1200" dirty="0">
                <a:solidFill>
                  <a:schemeClr val="tx1"/>
                </a:solidFill>
                <a:latin typeface="+mj-lt"/>
                <a:ea typeface="+mn-ea"/>
                <a:cs typeface="+mn-cs"/>
              </a:defRPr>
            </a:lvl1pPr>
          </a:lstStyle>
          <a:p>
            <a:pPr lvl="0"/>
            <a:r>
              <a:rPr lang="en-US"/>
              <a:t>Click to edit text styles</a:t>
            </a:r>
          </a:p>
        </p:txBody>
      </p:sp>
      <p:sp>
        <p:nvSpPr>
          <p:cNvPr id="8" name="Text Placeholder 2">
            <a:extLst>
              <a:ext uri="{FF2B5EF4-FFF2-40B4-BE49-F238E27FC236}">
                <a16:creationId xmlns:a16="http://schemas.microsoft.com/office/drawing/2014/main" id="{7F58507D-BE25-A676-EF32-EE4249E5B1E0}"/>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21751235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a:xfrm>
            <a:off x="588263" y="580311"/>
            <a:ext cx="4710812" cy="430887"/>
          </a:xfrm>
        </p:spPr>
        <p:txBody>
          <a:bodyPr anchor="t" anchorCtr="0"/>
          <a:lstStyle/>
          <a:p>
            <a:r>
              <a:rPr lang="en-US"/>
              <a:t>Click to edit Master title style</a:t>
            </a:r>
          </a:p>
        </p:txBody>
      </p:sp>
      <p:sp>
        <p:nvSpPr>
          <p:cNvPr id="5" name="Picture Placeholder 3">
            <a:extLst>
              <a:ext uri="{FF2B5EF4-FFF2-40B4-BE49-F238E27FC236}">
                <a16:creationId xmlns:a16="http://schemas.microsoft.com/office/drawing/2014/main" id="{B3B58AC5-4798-0617-0437-E66831EDE2C3}"/>
              </a:ext>
            </a:extLst>
          </p:cNvPr>
          <p:cNvSpPr>
            <a:spLocks noGrp="1"/>
          </p:cNvSpPr>
          <p:nvPr>
            <p:ph type="pic" sz="quarter" idx="13"/>
          </p:nvPr>
        </p:nvSpPr>
        <p:spPr>
          <a:xfrm>
            <a:off x="6242050" y="0"/>
            <a:ext cx="5949950" cy="6858000"/>
          </a:xfrm>
          <a:solidFill>
            <a:schemeClr val="bg1"/>
          </a:solidFill>
        </p:spPr>
        <p:txBody>
          <a:bodyPr/>
          <a:lstStyle>
            <a:lvl1pPr marL="0" indent="0">
              <a:buNone/>
              <a:defRPr sz="2000"/>
            </a:lvl1pPr>
          </a:lstStyle>
          <a:p>
            <a:r>
              <a:rPr lang="en-US"/>
              <a:t>Click icon to add picture</a:t>
            </a:r>
          </a:p>
        </p:txBody>
      </p:sp>
    </p:spTree>
    <p:extLst>
      <p:ext uri="{BB962C8B-B14F-4D97-AF65-F5344CB8AC3E}">
        <p14:creationId xmlns:p14="http://schemas.microsoft.com/office/powerpoint/2010/main" val="2811661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1A01FF2C-F269-F9D4-58FE-5327AC58EA85}"/>
              </a:ext>
            </a:extLst>
          </p:cNvPr>
          <p:cNvGrpSpPr/>
          <p:nvPr userDrawn="1"/>
        </p:nvGrpSpPr>
        <p:grpSpPr>
          <a:xfrm>
            <a:off x="0" y="0"/>
            <a:ext cx="12296446" cy="6858000"/>
            <a:chOff x="0" y="0"/>
            <a:chExt cx="12296446" cy="6858000"/>
          </a:xfrm>
        </p:grpSpPr>
        <p:grpSp>
          <p:nvGrpSpPr>
            <p:cNvPr id="10" name="Group 9">
              <a:extLst>
                <a:ext uri="{FF2B5EF4-FFF2-40B4-BE49-F238E27FC236}">
                  <a16:creationId xmlns:a16="http://schemas.microsoft.com/office/drawing/2014/main" id="{D682CD50-AEA4-6980-963E-93BE9699F3C5}"/>
                </a:ext>
              </a:extLst>
            </p:cNvPr>
            <p:cNvGrpSpPr/>
            <p:nvPr userDrawn="1"/>
          </p:nvGrpSpPr>
          <p:grpSpPr>
            <a:xfrm>
              <a:off x="0" y="0"/>
              <a:ext cx="12192000" cy="6858000"/>
              <a:chOff x="0" y="0"/>
              <a:chExt cx="12192000" cy="6858000"/>
            </a:xfrm>
          </p:grpSpPr>
          <p:grpSp>
            <p:nvGrpSpPr>
              <p:cNvPr id="3" name="Group 2">
                <a:extLst>
                  <a:ext uri="{FF2B5EF4-FFF2-40B4-BE49-F238E27FC236}">
                    <a16:creationId xmlns:a16="http://schemas.microsoft.com/office/drawing/2014/main" id="{9740519F-E268-7CB3-7FAC-A0AAD0D3EB64}"/>
                  </a:ext>
                </a:extLst>
              </p:cNvPr>
              <p:cNvGrpSpPr/>
              <p:nvPr userDrawn="1"/>
            </p:nvGrpSpPr>
            <p:grpSpPr>
              <a:xfrm>
                <a:off x="3689874" y="0"/>
                <a:ext cx="8502126" cy="6858000"/>
                <a:chOff x="6892376" y="0"/>
                <a:chExt cx="5299623" cy="6858000"/>
              </a:xfrm>
            </p:grpSpPr>
            <p:pic>
              <p:nvPicPr>
                <p:cNvPr id="4" name="Picture 3">
                  <a:extLst>
                    <a:ext uri="{FF2B5EF4-FFF2-40B4-BE49-F238E27FC236}">
                      <a16:creationId xmlns:a16="http://schemas.microsoft.com/office/drawing/2014/main" id="{D2E78BF7-B153-FE60-3465-D3DDF8223B01}"/>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8471465-94B2-66BF-1358-52C0D344BE59}"/>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80106421-65CE-0084-9DCD-211DB78EAFB6}"/>
                  </a:ext>
                </a:extLst>
              </p:cNvPr>
              <p:cNvSpPr/>
              <p:nvPr userDrawn="1"/>
            </p:nvSpPr>
            <p:spPr bwMode="auto">
              <a:xfrm>
                <a:off x="0" y="0"/>
                <a:ext cx="6508376" cy="6858000"/>
              </a:xfrm>
              <a:prstGeom prst="rect">
                <a:avLst/>
              </a:prstGeom>
              <a:gradFill flip="none" rotWithShape="1">
                <a:gsLst>
                  <a:gs pos="66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8" name="Picture 7" descr="Background pattern&#10;&#10;Description automatically generated">
              <a:extLst>
                <a:ext uri="{FF2B5EF4-FFF2-40B4-BE49-F238E27FC236}">
                  <a16:creationId xmlns:a16="http://schemas.microsoft.com/office/drawing/2014/main" id="{1DD810FF-B216-4654-9371-0E4D8D802B15}"/>
                </a:ext>
              </a:extLst>
            </p:cNvPr>
            <p:cNvPicPr>
              <a:picLocks noChangeAspect="1"/>
            </p:cNvPicPr>
            <p:nvPr userDrawn="1"/>
          </p:nvPicPr>
          <p:blipFill>
            <a:blip r:embed="rId4" cstate="print">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7C0ED9E3-69CA-604E-F59C-C22F44EAA35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075AB46-03F6-AC39-00E9-2B3ABDA710C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278948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ssion Title w/ Phot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a:noFill/>
        </p:spPr>
        <p:txBody>
          <a:bodyPr vert="horz" wrap="square" lIns="0" tIns="0" rIns="0" bIns="0" rtlCol="0" anchor="b" anchorCtr="0">
            <a:spAutoFit/>
          </a:bodyPr>
          <a:lstStyle>
            <a:lvl1pPr>
              <a:defRPr lang="en-US" dirty="0">
                <a:gradFill>
                  <a:gsLst>
                    <a:gs pos="26000">
                      <a:schemeClr val="accent1"/>
                    </a:gs>
                    <a:gs pos="100000">
                      <a:schemeClr val="accent3"/>
                    </a:gs>
                  </a:gsLst>
                  <a:lin ang="2400000" scaled="0"/>
                </a:gradFill>
                <a:latin typeface="Segoe UI Semibold" panose="020B0702040204020203" pitchFamily="34" charset="0"/>
                <a:cs typeface="Segoe UI Semibold" panose="020B0702040204020203" pitchFamily="34" charset="0"/>
              </a:defRPr>
            </a:lvl1pPr>
          </a:lstStyle>
          <a:p>
            <a:pPr lvl="0"/>
            <a:r>
              <a:rPr lang="en-US"/>
              <a:t>Session or demo title</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pic>
        <p:nvPicPr>
          <p:cNvPr id="3" name="MS logo gray - EMF" descr="Microsoft logo, gray text version">
            <a:extLst>
              <a:ext uri="{FF2B5EF4-FFF2-40B4-BE49-F238E27FC236}">
                <a16:creationId xmlns:a16="http://schemas.microsoft.com/office/drawing/2014/main" id="{B1E4D60A-74D4-CACF-489D-0AF2C448AF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03690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634042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17311428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5">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6D41C-2693-DF84-B52B-AAFE49E0D9AD}"/>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Lst>
          </a:blip>
          <a:srcRect l="3678" r="19088" b="1398"/>
          <a:stretch/>
        </p:blipFill>
        <p:spPr>
          <a:xfrm>
            <a:off x="0" y="0"/>
            <a:ext cx="12191999" cy="6858000"/>
          </a:xfrm>
          <a:prstGeom prst="rect">
            <a:avLst/>
          </a:prstGeom>
        </p:spPr>
      </p:pic>
      <p:sp>
        <p:nvSpPr>
          <p:cNvPr id="3" name="Rectangle 2">
            <a:extLst>
              <a:ext uri="{FF2B5EF4-FFF2-40B4-BE49-F238E27FC236}">
                <a16:creationId xmlns:a16="http://schemas.microsoft.com/office/drawing/2014/main" id="{523EF143-CE0B-763F-31DC-5E3FD677E5F8}"/>
              </a:ext>
              <a:ext uri="{C183D7F6-B498-43B3-948B-1728B52AA6E4}">
                <adec:decorative xmlns:adec="http://schemas.microsoft.com/office/drawing/2017/decorative" val="1"/>
              </a:ext>
            </a:extLst>
          </p:cNvPr>
          <p:cNvSpPr/>
          <p:nvPr userDrawn="1"/>
        </p:nvSpPr>
        <p:spPr bwMode="auto">
          <a:xfrm>
            <a:off x="-1" y="0"/>
            <a:ext cx="6505303"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3266242"/>
            <a:ext cx="9144000" cy="677108"/>
          </a:xfrm>
          <a:noFill/>
        </p:spPr>
        <p:txBody>
          <a:bodyPr lIns="0" tIns="0" rIns="0" bIns="0" anchor="b" anchorCtr="0">
            <a:spAutoFit/>
          </a:bodyPr>
          <a:lstStyle>
            <a:lvl1pPr>
              <a:defRPr sz="4400" spc="-50" baseline="0">
                <a:gradFill>
                  <a:gsLst>
                    <a:gs pos="50000">
                      <a:srgbClr val="8661C5"/>
                    </a:gs>
                    <a:gs pos="0">
                      <a:srgbClr val="3E76D4"/>
                    </a:gs>
                    <a:gs pos="100000">
                      <a:srgbClr val="C73ECC"/>
                    </a:gs>
                  </a:gsLst>
                  <a:lin ang="2700000" scaled="1"/>
                </a:gradFill>
                <a:latin typeface="+mj-lt"/>
                <a:cs typeface="Segoe UI" panose="020B0502040204020203" pitchFamily="34" charset="0"/>
              </a:defRPr>
            </a:lvl1pPr>
          </a:lstStyle>
          <a:p>
            <a:r>
              <a:rPr lang="en-US"/>
              <a:t>Event name or presentation title </a:t>
            </a:r>
          </a:p>
        </p:txBody>
      </p:sp>
      <p:pic>
        <p:nvPicPr>
          <p:cNvPr id="10" name="Picture 9" descr="A close-up of a logo&#10;&#10;Description automatically generated with medium confidence">
            <a:extLst>
              <a:ext uri="{FF2B5EF4-FFF2-40B4-BE49-F238E27FC236}">
                <a16:creationId xmlns:a16="http://schemas.microsoft.com/office/drawing/2014/main" id="{97B1F2AE-6C5C-018D-7632-164C4B217057}"/>
              </a:ext>
            </a:extLst>
          </p:cNvPr>
          <p:cNvPicPr>
            <a:picLocks noChangeAspect="1"/>
          </p:cNvPicPr>
          <p:nvPr userDrawn="1"/>
        </p:nvPicPr>
        <p:blipFill>
          <a:blip r:embed="rId4"/>
          <a:stretch>
            <a:fillRect/>
          </a:stretch>
        </p:blipFill>
        <p:spPr>
          <a:xfrm>
            <a:off x="296863" y="298450"/>
            <a:ext cx="2361272" cy="867859"/>
          </a:xfrm>
          <a:prstGeom prst="rect">
            <a:avLst/>
          </a:prstGeom>
        </p:spPr>
      </p:pic>
      <p:pic>
        <p:nvPicPr>
          <p:cNvPr id="12" name="Picture 11" descr="Copilot icon">
            <a:extLst>
              <a:ext uri="{FF2B5EF4-FFF2-40B4-BE49-F238E27FC236}">
                <a16:creationId xmlns:a16="http://schemas.microsoft.com/office/drawing/2014/main" id="{48E71862-46E9-1E30-ED58-7F0E39F78298}"/>
              </a:ext>
            </a:extLst>
          </p:cNvPr>
          <p:cNvPicPr>
            <a:picLocks noChangeAspect="1"/>
          </p:cNvPicPr>
          <p:nvPr userDrawn="1"/>
        </p:nvPicPr>
        <p:blipFill>
          <a:blip r:embed="rId5"/>
          <a:stretch>
            <a:fillRect/>
          </a:stretch>
        </p:blipFill>
        <p:spPr>
          <a:xfrm>
            <a:off x="10936164" y="421652"/>
            <a:ext cx="677637" cy="744657"/>
          </a:xfrm>
          <a:prstGeom prst="rect">
            <a:avLst/>
          </a:prstGeom>
        </p:spPr>
      </p:pic>
    </p:spTree>
    <p:extLst>
      <p:ext uri="{BB962C8B-B14F-4D97-AF65-F5344CB8AC3E}">
        <p14:creationId xmlns:p14="http://schemas.microsoft.com/office/powerpoint/2010/main" val="3957288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Slide 5">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6D41C-2693-DF84-B52B-AAFE49E0D9AD}"/>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Lst>
          </a:blip>
          <a:srcRect l="41350" t="6371" r="22947" b="48048"/>
          <a:stretch/>
        </p:blipFill>
        <p:spPr>
          <a:xfrm>
            <a:off x="0" y="0"/>
            <a:ext cx="12191999" cy="6858000"/>
          </a:xfrm>
          <a:prstGeom prst="rect">
            <a:avLst/>
          </a:prstGeom>
        </p:spPr>
      </p:pic>
      <p:sp>
        <p:nvSpPr>
          <p:cNvPr id="3" name="Rectangle 2">
            <a:extLst>
              <a:ext uri="{FF2B5EF4-FFF2-40B4-BE49-F238E27FC236}">
                <a16:creationId xmlns:a16="http://schemas.microsoft.com/office/drawing/2014/main" id="{523EF143-CE0B-763F-31DC-5E3FD677E5F8}"/>
              </a:ext>
              <a:ext uri="{C183D7F6-B498-43B3-948B-1728B52AA6E4}">
                <adec:decorative xmlns:adec="http://schemas.microsoft.com/office/drawing/2017/decorative" val="1"/>
              </a:ext>
            </a:extLst>
          </p:cNvPr>
          <p:cNvSpPr/>
          <p:nvPr userDrawn="1"/>
        </p:nvSpPr>
        <p:spPr bwMode="auto">
          <a:xfrm>
            <a:off x="-1" y="0"/>
            <a:ext cx="6505303"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589133"/>
            <a:ext cx="5511800" cy="1354217"/>
          </a:xfrm>
          <a:noFill/>
        </p:spPr>
        <p:txBody>
          <a:bodyPr wrap="square" lIns="0" tIns="0" rIns="0" bIns="0" anchor="b" anchorCtr="0">
            <a:spAutoFit/>
          </a:bodyPr>
          <a:lstStyle>
            <a:lvl1pPr>
              <a:defRPr sz="4400" spc="-50" baseline="0">
                <a:gradFill>
                  <a:gsLst>
                    <a:gs pos="50000">
                      <a:srgbClr val="8661C5"/>
                    </a:gs>
                    <a:gs pos="0">
                      <a:srgbClr val="3E76D4"/>
                    </a:gs>
                    <a:gs pos="100000">
                      <a:srgbClr val="C73ECC"/>
                    </a:gs>
                  </a:gsLst>
                  <a:lin ang="2700000" scaled="1"/>
                </a:gradFill>
                <a:latin typeface="+mj-lt"/>
                <a:cs typeface="Segoe UI" panose="020B0502040204020203" pitchFamily="34" charset="0"/>
              </a:defRPr>
            </a:lvl1pPr>
          </a:lstStyle>
          <a:p>
            <a:r>
              <a:rPr lang="en-US"/>
              <a:t>Event name or presentation title </a:t>
            </a:r>
          </a:p>
        </p:txBody>
      </p:sp>
      <p:pic>
        <p:nvPicPr>
          <p:cNvPr id="8" name="Picture 7" descr="Copilot icon">
            <a:extLst>
              <a:ext uri="{FF2B5EF4-FFF2-40B4-BE49-F238E27FC236}">
                <a16:creationId xmlns:a16="http://schemas.microsoft.com/office/drawing/2014/main" id="{ABC7415E-C27A-A723-C530-D04A2A920663}"/>
              </a:ext>
            </a:extLst>
          </p:cNvPr>
          <p:cNvPicPr>
            <a:picLocks noChangeAspect="1"/>
          </p:cNvPicPr>
          <p:nvPr userDrawn="1"/>
        </p:nvPicPr>
        <p:blipFill>
          <a:blip r:embed="rId4"/>
          <a:stretch>
            <a:fillRect/>
          </a:stretch>
        </p:blipFill>
        <p:spPr>
          <a:xfrm>
            <a:off x="10936164" y="421652"/>
            <a:ext cx="677637" cy="744657"/>
          </a:xfrm>
          <a:prstGeom prst="rect">
            <a:avLst/>
          </a:prstGeom>
        </p:spPr>
      </p:pic>
      <p:pic>
        <p:nvPicPr>
          <p:cNvPr id="5" name="Picture 4" descr="A close-up of a logo&#10;&#10;Description automatically generated with medium confidence">
            <a:extLst>
              <a:ext uri="{FF2B5EF4-FFF2-40B4-BE49-F238E27FC236}">
                <a16:creationId xmlns:a16="http://schemas.microsoft.com/office/drawing/2014/main" id="{B7CCD9CC-6226-0424-5409-124F7DF60F61}"/>
              </a:ext>
            </a:extLst>
          </p:cNvPr>
          <p:cNvPicPr>
            <a:picLocks noChangeAspect="1"/>
          </p:cNvPicPr>
          <p:nvPr userDrawn="1"/>
        </p:nvPicPr>
        <p:blipFill>
          <a:blip r:embed="rId5"/>
          <a:stretch>
            <a:fillRect/>
          </a:stretch>
        </p:blipFill>
        <p:spPr>
          <a:xfrm>
            <a:off x="296863" y="298450"/>
            <a:ext cx="2361272" cy="867859"/>
          </a:xfrm>
          <a:prstGeom prst="rect">
            <a:avLst/>
          </a:prstGeom>
        </p:spPr>
      </p:pic>
      <p:pic>
        <p:nvPicPr>
          <p:cNvPr id="6" name="Picture 2" descr="Map, photo with location pin, mobile device with likes icon in magenta, purple, and yellow color">
            <a:extLst>
              <a:ext uri="{FF2B5EF4-FFF2-40B4-BE49-F238E27FC236}">
                <a16:creationId xmlns:a16="http://schemas.microsoft.com/office/drawing/2014/main" id="{0A983905-67D2-5C33-136D-E6F40D6AC0D2}"/>
              </a:ext>
            </a:extLst>
          </p:cNvPr>
          <p:cNvPicPr>
            <a:picLocks noChangeAspect="1"/>
          </p:cNvPicPr>
          <p:nvPr userDrawn="1"/>
        </p:nvPicPr>
        <p:blipFill>
          <a:blip r:embed="rId6"/>
          <a:stretch>
            <a:fillRect/>
          </a:stretch>
        </p:blipFill>
        <p:spPr>
          <a:xfrm>
            <a:off x="7038244" y="1060538"/>
            <a:ext cx="4736924" cy="4736924"/>
          </a:xfrm>
          <a:prstGeom prst="rect">
            <a:avLst/>
          </a:prstGeom>
        </p:spPr>
      </p:pic>
    </p:spTree>
    <p:extLst>
      <p:ext uri="{BB962C8B-B14F-4D97-AF65-F5344CB8AC3E}">
        <p14:creationId xmlns:p14="http://schemas.microsoft.com/office/powerpoint/2010/main" val="33860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565191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AB52086-A920-5E6A-2682-32FAB0FE93A0}"/>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22427" t="9069" r="20063" b="28065"/>
          <a:stretch/>
        </p:blipFill>
        <p:spPr>
          <a:xfrm>
            <a:off x="0" y="0"/>
            <a:ext cx="12192000" cy="6858000"/>
          </a:xfrm>
          <a:prstGeom prst="roundRect">
            <a:avLst>
              <a:gd name="adj" fmla="val 0"/>
            </a:avLst>
          </a:prstGeom>
          <a:solidFill>
            <a:schemeClr val="bg1"/>
          </a:solidFill>
          <a:ln>
            <a:noFill/>
          </a:ln>
          <a:effectLst>
            <a:outerShdw blurRad="223661" dist="140295" dir="2700000" algn="tl" rotWithShape="0">
              <a:srgbClr val="6B2929">
                <a:alpha val="15000"/>
              </a:srgbClr>
            </a:outerShdw>
          </a:effectLst>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44694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AB52086-A920-5E6A-2682-32FAB0FE93A0}"/>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22427" t="9069" r="20063" b="28065"/>
          <a:stretch/>
        </p:blipFill>
        <p:spPr>
          <a:xfrm>
            <a:off x="0" y="0"/>
            <a:ext cx="12192000" cy="6858000"/>
          </a:xfrm>
          <a:prstGeom prst="roundRect">
            <a:avLst>
              <a:gd name="adj" fmla="val 0"/>
            </a:avLst>
          </a:prstGeom>
          <a:solidFill>
            <a:schemeClr val="bg1"/>
          </a:solidFill>
          <a:ln>
            <a:noFill/>
          </a:ln>
          <a:effectLst>
            <a:outerShdw blurRad="223661" dist="140295" dir="2700000" algn="tl" rotWithShape="0">
              <a:srgbClr val="6B2929">
                <a:alpha val="15000"/>
              </a:srgbClr>
            </a:outerShdw>
          </a:effectLst>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1660538A-9F93-E25A-6FB2-7609FB154490}"/>
              </a:ext>
            </a:extLst>
          </p:cNvPr>
          <p:cNvSpPr>
            <a:spLocks noGrp="1"/>
          </p:cNvSpPr>
          <p:nvPr>
            <p:ph type="body" sz="quarter" idx="10"/>
          </p:nvPr>
        </p:nvSpPr>
        <p:spPr>
          <a:xfrm>
            <a:off x="585788" y="1062911"/>
            <a:ext cx="11020426" cy="307777"/>
          </a:xfrm>
        </p:spPr>
        <p:txBody>
          <a:bodyPr/>
          <a:lstStyle>
            <a:lvl1pPr marL="0" indent="0" algn="l" defTabSz="932742" rtl="0" eaLnBrk="1" latinLnBrk="0" hangingPunct="1">
              <a:lnSpc>
                <a:spcPct val="100000"/>
              </a:lnSpc>
              <a:spcBef>
                <a:spcPct val="0"/>
              </a:spcBef>
              <a:buNone/>
              <a:defRPr lang="en-US" sz="2000" b="0" kern="1200" cap="none" spc="0" baseline="0" dirty="0" smtClean="0">
                <a:ln w="3175">
                  <a:noFill/>
                </a:ln>
                <a:gradFill>
                  <a:gsLst>
                    <a:gs pos="50000">
                      <a:srgbClr val="8661C5"/>
                    </a:gs>
                    <a:gs pos="0">
                      <a:srgbClr val="3E76D4"/>
                    </a:gs>
                    <a:gs pos="100000">
                      <a:srgbClr val="C73ECC"/>
                    </a:gs>
                  </a:gsLst>
                  <a:lin ang="2700000" scaled="1"/>
                </a:gradFill>
                <a:effectLst/>
                <a:latin typeface="+mj-lt"/>
                <a:ea typeface="+mn-ea"/>
                <a:cs typeface="Segoe UI" panose="020B0502040204020203" pitchFamily="34" charset="0"/>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075092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4" name="Picture 3" descr="A picture containing blur, colorfulness&#10;&#10;Description automatically generated">
            <a:extLst>
              <a:ext uri="{FF2B5EF4-FFF2-40B4-BE49-F238E27FC236}">
                <a16:creationId xmlns:a16="http://schemas.microsoft.com/office/drawing/2014/main" id="{F6187E10-A926-626B-4493-0B31CE93EBF9}"/>
              </a:ext>
            </a:extLst>
          </p:cNvPr>
          <p:cNvPicPr>
            <a:picLocks noChangeAspect="1"/>
          </p:cNvPicPr>
          <p:nvPr userDrawn="1"/>
        </p:nvPicPr>
        <p:blipFill>
          <a:blip r:embed="rId2">
            <a:alphaModFix amt="75000"/>
          </a:blip>
          <a:stretch>
            <a:fillRect/>
          </a:stretch>
        </p:blipFill>
        <p:spPr>
          <a:xfrm>
            <a:off x="3175" y="-1787"/>
            <a:ext cx="12185650" cy="6861574"/>
          </a:xfrm>
          <a:prstGeom prst="rect">
            <a:avLst/>
          </a:prstGeom>
          <a:ln>
            <a:noFill/>
          </a:ln>
        </p:spPr>
      </p:pic>
    </p:spTree>
    <p:extLst>
      <p:ext uri="{BB962C8B-B14F-4D97-AF65-F5344CB8AC3E}">
        <p14:creationId xmlns:p14="http://schemas.microsoft.com/office/powerpoint/2010/main" val="763070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6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C65E9-4A52-3EE6-E842-26805730EB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438A7F-9147-5021-CF64-D06E046A31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24248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61250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6D036D35-5EFE-4F9A-9DEA-C56B81F64EC4}"/>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22789746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868679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8E18B7EF-51F4-0AF3-B6B2-14F3663B476B}"/>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7" name="Text Placeholder 11">
            <a:extLst>
              <a:ext uri="{FF2B5EF4-FFF2-40B4-BE49-F238E27FC236}">
                <a16:creationId xmlns:a16="http://schemas.microsoft.com/office/drawing/2014/main" id="{9AC98D00-037E-AA9F-9072-F66D12F7D7B2}"/>
              </a:ext>
            </a:extLst>
          </p:cNvPr>
          <p:cNvSpPr>
            <a:spLocks noGrp="1"/>
          </p:cNvSpPr>
          <p:nvPr>
            <p:ph type="body" sz="quarter" idx="16" hasCustomPrompt="1"/>
          </p:nvPr>
        </p:nvSpPr>
        <p:spPr>
          <a:xfrm>
            <a:off x="585217" y="316933"/>
            <a:ext cx="3536997" cy="338554"/>
          </a:xfrm>
        </p:spPr>
        <p:txBody>
          <a:bodyPr anchor="t"/>
          <a:lstStyle>
            <a:lvl1pPr marL="0" indent="0" algn="l" defTabSz="914367" rtl="0" eaLnBrk="1" latinLnBrk="0" hangingPunct="1">
              <a:spcBef>
                <a:spcPts val="0"/>
              </a:spcBef>
              <a:buNone/>
              <a:defRPr lang="en-US" sz="1600" kern="1200" dirty="0">
                <a:solidFill>
                  <a:schemeClr val="tx1"/>
                </a:solidFill>
                <a:latin typeface="+mj-lt"/>
                <a:ea typeface="+mn-ea"/>
                <a:cs typeface="+mn-cs"/>
              </a:defRPr>
            </a:lvl1pPr>
          </a:lstStyle>
          <a:p>
            <a:pPr lvl="0"/>
            <a:r>
              <a:rPr lang="en-US"/>
              <a:t>Click to edit text styles</a:t>
            </a:r>
          </a:p>
        </p:txBody>
      </p:sp>
      <p:sp>
        <p:nvSpPr>
          <p:cNvPr id="8" name="Text Placeholder 2">
            <a:extLst>
              <a:ext uri="{FF2B5EF4-FFF2-40B4-BE49-F238E27FC236}">
                <a16:creationId xmlns:a16="http://schemas.microsoft.com/office/drawing/2014/main" id="{7F58507D-BE25-A676-EF32-EE4249E5B1E0}"/>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40492917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3060074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itle Slide 5">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65595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83364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with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0563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34043809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16566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87842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6D41C-2693-DF84-B52B-AAFE49E0D9AD}"/>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Lst>
          </a:blip>
          <a:srcRect l="3678" r="19088" b="1398"/>
          <a:stretch/>
        </p:blipFill>
        <p:spPr>
          <a:xfrm>
            <a:off x="0" y="-1"/>
            <a:ext cx="12192000" cy="6858001"/>
          </a:xfrm>
          <a:prstGeom prst="rect">
            <a:avLst/>
          </a:prstGeom>
        </p:spPr>
      </p:pic>
      <p:sp>
        <p:nvSpPr>
          <p:cNvPr id="3" name="Rectangle: Rounded Corners 2">
            <a:extLst>
              <a:ext uri="{FF2B5EF4-FFF2-40B4-BE49-F238E27FC236}">
                <a16:creationId xmlns:a16="http://schemas.microsoft.com/office/drawing/2014/main" id="{523EF143-CE0B-763F-31DC-5E3FD677E5F8}"/>
              </a:ext>
              <a:ext uri="{C183D7F6-B498-43B3-948B-1728B52AA6E4}">
                <adec:decorative xmlns:adec="http://schemas.microsoft.com/office/drawing/2017/decorative" val="1"/>
              </a:ext>
            </a:extLst>
          </p:cNvPr>
          <p:cNvSpPr/>
          <p:nvPr userDrawn="1"/>
        </p:nvSpPr>
        <p:spPr bwMode="auto">
          <a:xfrm>
            <a:off x="293689" y="1358900"/>
            <a:ext cx="11604624" cy="4140200"/>
          </a:xfrm>
          <a:prstGeom prst="roundRect">
            <a:avLst>
              <a:gd name="adj" fmla="val 5011"/>
            </a:avLst>
          </a:prstGeom>
          <a:solidFill>
            <a:schemeClr val="bg1">
              <a:alpha val="70000"/>
            </a:schemeClr>
          </a:solidFill>
          <a:ln>
            <a:noFill/>
            <a:headEnd type="none" w="med" len="med"/>
            <a:tailEnd type="none" w="med" len="med"/>
          </a:ln>
          <a:effectLst>
            <a:outerShdw blurRad="190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9" name="Title 1"/>
          <p:cNvSpPr>
            <a:spLocks noGrp="1"/>
          </p:cNvSpPr>
          <p:nvPr>
            <p:ph type="title" hasCustomPrompt="1"/>
          </p:nvPr>
        </p:nvSpPr>
        <p:spPr>
          <a:xfrm>
            <a:off x="584200" y="3152000"/>
            <a:ext cx="9144000" cy="553998"/>
          </a:xfrm>
          <a:noFill/>
        </p:spPr>
        <p:txBody>
          <a:bodyPr wrap="square" lIns="0" tIns="0" rIns="0" bIns="0" anchor="ctr" anchorCtr="0">
            <a:spAutoFit/>
          </a:bodyPr>
          <a:lstStyle>
            <a:lvl1pPr>
              <a:defRPr sz="3600" spc="-50" baseline="0">
                <a:gradFill>
                  <a:gsLst>
                    <a:gs pos="50000">
                      <a:srgbClr val="8661C5"/>
                    </a:gs>
                    <a:gs pos="0">
                      <a:srgbClr val="3E76D4"/>
                    </a:gs>
                    <a:gs pos="100000">
                      <a:srgbClr val="C73ECC"/>
                    </a:gs>
                  </a:gsLst>
                  <a:lin ang="2700000" scaled="1"/>
                </a:gradFill>
                <a:latin typeface="+mj-lt"/>
                <a:cs typeface="Segoe UI" panose="020B0502040204020203" pitchFamily="34" charset="0"/>
              </a:defRPr>
            </a:lvl1pPr>
          </a:lstStyle>
          <a:p>
            <a:r>
              <a:rPr lang="en-US"/>
              <a:t>Event name or presentation title </a:t>
            </a:r>
          </a:p>
        </p:txBody>
      </p:sp>
      <p:pic>
        <p:nvPicPr>
          <p:cNvPr id="4" name="Picture 3" descr="A close-up of a logo&#10;&#10;Description automatically generated with medium confidence">
            <a:extLst>
              <a:ext uri="{FF2B5EF4-FFF2-40B4-BE49-F238E27FC236}">
                <a16:creationId xmlns:a16="http://schemas.microsoft.com/office/drawing/2014/main" id="{FD797F22-8CEB-326B-F6B9-1BD3386F36DB}"/>
              </a:ext>
            </a:extLst>
          </p:cNvPr>
          <p:cNvPicPr>
            <a:picLocks noChangeAspect="1"/>
          </p:cNvPicPr>
          <p:nvPr userDrawn="1"/>
        </p:nvPicPr>
        <p:blipFill>
          <a:blip r:embed="rId4"/>
          <a:stretch>
            <a:fillRect/>
          </a:stretch>
        </p:blipFill>
        <p:spPr>
          <a:xfrm>
            <a:off x="296863" y="298450"/>
            <a:ext cx="2361272" cy="867859"/>
          </a:xfrm>
          <a:prstGeom prst="rect">
            <a:avLst/>
          </a:prstGeom>
        </p:spPr>
      </p:pic>
      <p:sp>
        <p:nvSpPr>
          <p:cNvPr id="5" name="Text Placeholder 4">
            <a:extLst>
              <a:ext uri="{FF2B5EF4-FFF2-40B4-BE49-F238E27FC236}">
                <a16:creationId xmlns:a16="http://schemas.microsoft.com/office/drawing/2014/main" id="{039703E5-9373-0D0E-9EF0-0EA0F281ED47}"/>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rgbClr val="0070C0"/>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37713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306392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7383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a:xfrm>
            <a:off x="588263" y="580311"/>
            <a:ext cx="4710812" cy="430887"/>
          </a:xfrm>
        </p:spPr>
        <p:txBody>
          <a:bodyPr anchor="t" anchorCtr="0"/>
          <a:lstStyle/>
          <a:p>
            <a:r>
              <a:rPr lang="en-US"/>
              <a:t>Click to edit Master title style</a:t>
            </a:r>
          </a:p>
        </p:txBody>
      </p:sp>
      <p:sp>
        <p:nvSpPr>
          <p:cNvPr id="5" name="Picture Placeholder 3">
            <a:extLst>
              <a:ext uri="{FF2B5EF4-FFF2-40B4-BE49-F238E27FC236}">
                <a16:creationId xmlns:a16="http://schemas.microsoft.com/office/drawing/2014/main" id="{B3B58AC5-4798-0617-0437-E66831EDE2C3}"/>
              </a:ext>
            </a:extLst>
          </p:cNvPr>
          <p:cNvSpPr>
            <a:spLocks noGrp="1"/>
          </p:cNvSpPr>
          <p:nvPr>
            <p:ph type="pic" sz="quarter" idx="13"/>
          </p:nvPr>
        </p:nvSpPr>
        <p:spPr>
          <a:xfrm>
            <a:off x="6242050" y="0"/>
            <a:ext cx="5949950" cy="6858000"/>
          </a:xfrm>
          <a:solidFill>
            <a:schemeClr val="bg1"/>
          </a:solidFill>
        </p:spPr>
        <p:txBody>
          <a:bodyPr/>
          <a:lstStyle>
            <a:lvl1pPr marL="0" indent="0">
              <a:buNone/>
              <a:defRPr sz="2000"/>
            </a:lvl1pPr>
          </a:lstStyle>
          <a:p>
            <a:r>
              <a:rPr lang="en-US"/>
              <a:t>Click icon to add picture</a:t>
            </a:r>
          </a:p>
        </p:txBody>
      </p:sp>
    </p:spTree>
    <p:extLst>
      <p:ext uri="{BB962C8B-B14F-4D97-AF65-F5344CB8AC3E}">
        <p14:creationId xmlns:p14="http://schemas.microsoft.com/office/powerpoint/2010/main" val="40485442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53516" y="1546680"/>
            <a:ext cx="6228884" cy="4631869"/>
          </a:xfrm>
          <a:prstGeom prst="rect">
            <a:avLst/>
          </a:prstGeom>
        </p:spPr>
        <p:txBody>
          <a:bodyPr/>
          <a:lstStyle>
            <a:lvl1pPr>
              <a:spcBef>
                <a:spcPts val="600"/>
              </a:spcBef>
              <a:spcAft>
                <a:spcPts val="1200"/>
              </a:spcAft>
              <a:defRPr/>
            </a:lvl1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B567261E-FC84-A807-B3AA-24D7B53CDFB3}"/>
              </a:ext>
            </a:extLst>
          </p:cNvPr>
          <p:cNvCxnSpPr>
            <a:cxnSpLocks/>
          </p:cNvCxnSpPr>
          <p:nvPr userDrawn="1"/>
        </p:nvCxnSpPr>
        <p:spPr>
          <a:xfrm>
            <a:off x="609600" y="551116"/>
            <a:ext cx="401413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E91178E-3254-FFD9-C472-E90F2815297E}"/>
              </a:ext>
            </a:extLst>
          </p:cNvPr>
          <p:cNvCxnSpPr>
            <a:cxnSpLocks/>
          </p:cNvCxnSpPr>
          <p:nvPr userDrawn="1"/>
        </p:nvCxnSpPr>
        <p:spPr>
          <a:xfrm>
            <a:off x="5354325" y="551116"/>
            <a:ext cx="622807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343105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4">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068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7" name="Rectangle 6"/>
          <p:cNvSpPr/>
          <p:nvPr/>
        </p:nvSpPr>
        <p:spPr>
          <a:xfrm>
            <a:off x="446534" y="3085764"/>
            <a:ext cx="11298932" cy="3338149"/>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tx1">
                    <a:lumMod val="75000"/>
                    <a:lumOff val="25000"/>
                  </a:schemeClr>
                </a:solidFill>
              </a:defRPr>
            </a:lvl1pPr>
          </a:lstStyle>
          <a:p>
            <a:r>
              <a:rPr lang="en-US"/>
              <a:t>Click to edit Master title style</a:t>
            </a:r>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7">
            <a:extLst>
              <a:ext uri="{FF2B5EF4-FFF2-40B4-BE49-F238E27FC236}">
                <a16:creationId xmlns:a16="http://schemas.microsoft.com/office/drawing/2014/main" id="{7FA0ACE7-29A8-47D3-A7D9-257B711D802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D291B17-9318-49DB-B28B-6E5994AE9581}" type="datetime1">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8/2026</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ooter Placeholder 8">
            <a:extLst>
              <a:ext uri="{FF2B5EF4-FFF2-40B4-BE49-F238E27FC236}">
                <a16:creationId xmlns:a16="http://schemas.microsoft.com/office/drawing/2014/main" id="{DEC604B9-52E9-4810-8359-47206518D03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Number Placeholder 9">
            <a:extLst>
              <a:ext uri="{FF2B5EF4-FFF2-40B4-BE49-F238E27FC236}">
                <a16:creationId xmlns:a16="http://schemas.microsoft.com/office/drawing/2014/main" id="{5898A89F-CA25-400F-B05A-AECBF2517E4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1050" b="0" i="0" u="none" strike="noStrike" kern="1200" cap="none" spc="0" normalizeH="0" baseline="0" noProof="0" smtClean="0">
                <a:ln>
                  <a:noFill/>
                </a:ln>
                <a:solidFill>
                  <a:srgbClr val="00000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a:ln>
                <a:noFill/>
              </a:ln>
              <a:solidFill>
                <a:srgbClr val="00000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2232882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Title Only - gradient">
    <p:bg>
      <p:bgPr>
        <a:gradFill>
          <a:gsLst>
            <a:gs pos="0">
              <a:schemeClr val="bg1"/>
            </a:gs>
            <a:gs pos="100000">
              <a:schemeClr val="bg1">
                <a:lumMod val="85000"/>
                <a:alpha val="50000"/>
              </a:schemeClr>
            </a:gs>
          </a:gsLst>
          <a:lin ang="189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477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BBAA791-ED13-7FE5-1BB2-19100F5C1DCC}"/>
              </a:ext>
            </a:extLst>
          </p:cNvPr>
          <p:cNvPicPr>
            <a:picLocks noChangeAspect="1"/>
          </p:cNvPicPr>
          <p:nvPr userDrawn="1"/>
        </p:nvPicPr>
        <p:blipFill rotWithShape="1">
          <a:blip r:embed="rId2"/>
          <a:srcRect l="10595" t="987" r="10595"/>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8933034-B30C-70E7-17B6-0E3FFF53C439}"/>
              </a:ext>
            </a:extLst>
          </p:cNvPr>
          <p:cNvPicPr>
            <a:picLocks noChangeAspect="1"/>
          </p:cNvPicPr>
          <p:nvPr userDrawn="1"/>
        </p:nvPicPr>
        <p:blipFill rotWithShape="1">
          <a:blip r:embed="rId3">
            <a:alphaModFix amt="39000"/>
            <a:extLst>
              <a:ext uri="{BEBA8EAE-BF5A-486C-A8C5-ECC9F3942E4B}">
                <a14:imgProps xmlns:a14="http://schemas.microsoft.com/office/drawing/2010/main">
                  <a14:imgLayer r:embed="rId4">
                    <a14:imgEffect>
                      <a14:sharpenSoften amount="-100000"/>
                    </a14:imgEffect>
                  </a14:imgLayer>
                </a14:imgProps>
              </a:ext>
            </a:extLst>
          </a:blip>
          <a:srcRect l="18476" t="10888" r="18476" b="9901"/>
          <a:stretch/>
        </p:blipFill>
        <p:spPr>
          <a:xfrm>
            <a:off x="1219200" y="685800"/>
            <a:ext cx="9753600" cy="5486400"/>
          </a:xfrm>
          <a:prstGeom prst="roundRect">
            <a:avLst>
              <a:gd name="adj" fmla="val 1721"/>
            </a:avLst>
          </a:prstGeom>
          <a:solidFill>
            <a:schemeClr val="bg1"/>
          </a:solidFill>
          <a:ln>
            <a:solidFill>
              <a:schemeClr val="bg1"/>
            </a:solidFill>
          </a:ln>
          <a:effectLst>
            <a:outerShdw blurRad="343645" dist="295501" dir="2700000" algn="tl" rotWithShape="0">
              <a:srgbClr val="F3484C">
                <a:alpha val="15816"/>
              </a:srgbClr>
            </a:outerShdw>
          </a:effectLst>
        </p:spPr>
      </p:pic>
      <p:sp>
        <p:nvSpPr>
          <p:cNvPr id="2" name="Title 1">
            <a:extLst>
              <a:ext uri="{FF2B5EF4-FFF2-40B4-BE49-F238E27FC236}">
                <a16:creationId xmlns:a16="http://schemas.microsoft.com/office/drawing/2014/main" id="{1D68B2D0-6768-258E-FF13-532F41DA5AD2}"/>
              </a:ext>
            </a:extLst>
          </p:cNvPr>
          <p:cNvSpPr>
            <a:spLocks noGrp="1"/>
          </p:cNvSpPr>
          <p:nvPr>
            <p:ph type="title"/>
          </p:nvPr>
        </p:nvSpPr>
        <p:spPr>
          <a:xfrm>
            <a:off x="2438400" y="1104856"/>
            <a:ext cx="7315200" cy="553998"/>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D46D253-F339-5FFB-2B47-0B44F462F50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49A1B1-5A8E-4E46-95DF-CCAC78182983}" type="slidenum">
              <a:rPr kumimoji="0" lang="en-US" sz="1050" b="0" i="0" u="none" strike="noStrike" kern="1200" cap="none" spc="0" normalizeH="0" baseline="0" noProof="0" smtClean="0">
                <a:ln>
                  <a:noFill/>
                </a:ln>
                <a:solidFill>
                  <a:srgbClr val="00000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a:ln>
                <a:noFill/>
              </a:ln>
              <a:solidFill>
                <a:srgbClr val="00000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87822378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Blank - Light Gradient">
    <p:bg>
      <p:bgPr>
        <a:gradFill>
          <a:gsLst>
            <a:gs pos="0">
              <a:srgbClr val="50E6FF"/>
            </a:gs>
            <a:gs pos="100000">
              <a:srgbClr val="D59DFF"/>
            </a:gs>
          </a:gsLst>
          <a:lin ang="2400000" scaled="0"/>
        </a:gra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C35D8F7-37B3-8A61-0D77-6182149CE4D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93065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539797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643228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232910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5288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1A01FF2C-F269-F9D4-58FE-5327AC58EA85}"/>
              </a:ext>
            </a:extLst>
          </p:cNvPr>
          <p:cNvGrpSpPr/>
          <p:nvPr userDrawn="1"/>
        </p:nvGrpSpPr>
        <p:grpSpPr>
          <a:xfrm>
            <a:off x="0" y="0"/>
            <a:ext cx="12296446" cy="6858000"/>
            <a:chOff x="0" y="0"/>
            <a:chExt cx="12296446" cy="6858000"/>
          </a:xfrm>
        </p:grpSpPr>
        <p:grpSp>
          <p:nvGrpSpPr>
            <p:cNvPr id="10" name="Group 9">
              <a:extLst>
                <a:ext uri="{FF2B5EF4-FFF2-40B4-BE49-F238E27FC236}">
                  <a16:creationId xmlns:a16="http://schemas.microsoft.com/office/drawing/2014/main" id="{D682CD50-AEA4-6980-963E-93BE9699F3C5}"/>
                </a:ext>
              </a:extLst>
            </p:cNvPr>
            <p:cNvGrpSpPr/>
            <p:nvPr userDrawn="1"/>
          </p:nvGrpSpPr>
          <p:grpSpPr>
            <a:xfrm>
              <a:off x="0" y="0"/>
              <a:ext cx="12192000" cy="6858000"/>
              <a:chOff x="0" y="0"/>
              <a:chExt cx="12192000" cy="6858000"/>
            </a:xfrm>
          </p:grpSpPr>
          <p:grpSp>
            <p:nvGrpSpPr>
              <p:cNvPr id="3" name="Group 2">
                <a:extLst>
                  <a:ext uri="{FF2B5EF4-FFF2-40B4-BE49-F238E27FC236}">
                    <a16:creationId xmlns:a16="http://schemas.microsoft.com/office/drawing/2014/main" id="{9740519F-E268-7CB3-7FAC-A0AAD0D3EB64}"/>
                  </a:ext>
                </a:extLst>
              </p:cNvPr>
              <p:cNvGrpSpPr/>
              <p:nvPr userDrawn="1"/>
            </p:nvGrpSpPr>
            <p:grpSpPr>
              <a:xfrm>
                <a:off x="3689874" y="0"/>
                <a:ext cx="8502126" cy="6858000"/>
                <a:chOff x="6892376" y="0"/>
                <a:chExt cx="5299623" cy="6858000"/>
              </a:xfrm>
            </p:grpSpPr>
            <p:pic>
              <p:nvPicPr>
                <p:cNvPr id="4" name="Picture 3">
                  <a:extLst>
                    <a:ext uri="{FF2B5EF4-FFF2-40B4-BE49-F238E27FC236}">
                      <a16:creationId xmlns:a16="http://schemas.microsoft.com/office/drawing/2014/main" id="{D2E78BF7-B153-FE60-3465-D3DDF8223B01}"/>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8471465-94B2-66BF-1358-52C0D344BE59}"/>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80106421-65CE-0084-9DCD-211DB78EAFB6}"/>
                  </a:ext>
                </a:extLst>
              </p:cNvPr>
              <p:cNvSpPr/>
              <p:nvPr userDrawn="1"/>
            </p:nvSpPr>
            <p:spPr bwMode="auto">
              <a:xfrm>
                <a:off x="0" y="0"/>
                <a:ext cx="6508376" cy="6858000"/>
              </a:xfrm>
              <a:prstGeom prst="rect">
                <a:avLst/>
              </a:prstGeom>
              <a:gradFill flip="none" rotWithShape="1">
                <a:gsLst>
                  <a:gs pos="66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8" name="Picture 7" descr="Background pattern&#10;&#10;Description automatically generated">
              <a:extLst>
                <a:ext uri="{FF2B5EF4-FFF2-40B4-BE49-F238E27FC236}">
                  <a16:creationId xmlns:a16="http://schemas.microsoft.com/office/drawing/2014/main" id="{1DD810FF-B216-4654-9371-0E4D8D802B15}"/>
                </a:ext>
              </a:extLst>
            </p:cNvPr>
            <p:cNvPicPr>
              <a:picLocks noChangeAspect="1"/>
            </p:cNvPicPr>
            <p:nvPr userDrawn="1"/>
          </p:nvPicPr>
          <p:blipFill>
            <a:blip r:embed="rId4" cstate="print">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7C0ED9E3-69CA-604E-F59C-C22F44EAA35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075AB46-03F6-AC39-00E9-2B3ABDA710C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55297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550023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721357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831881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462141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801903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928116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92223985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6747554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3660824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9287911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ssion Title w/ Phot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a:noFill/>
        </p:spPr>
        <p:txBody>
          <a:bodyPr vert="horz" wrap="square" lIns="0" tIns="0" rIns="0" bIns="0" rtlCol="0" anchor="b" anchorCtr="0">
            <a:spAutoFit/>
          </a:bodyPr>
          <a:lstStyle>
            <a:lvl1pPr>
              <a:defRPr lang="en-US" dirty="0">
                <a:gradFill>
                  <a:gsLst>
                    <a:gs pos="26000">
                      <a:schemeClr val="accent1"/>
                    </a:gs>
                    <a:gs pos="100000">
                      <a:schemeClr val="accent3"/>
                    </a:gs>
                  </a:gsLst>
                  <a:lin ang="2400000" scaled="0"/>
                </a:gradFill>
                <a:latin typeface="Segoe UI Semibold" panose="020B0702040204020203" pitchFamily="34" charset="0"/>
                <a:cs typeface="Segoe UI Semibold" panose="020B0702040204020203" pitchFamily="34" charset="0"/>
              </a:defRPr>
            </a:lvl1pPr>
          </a:lstStyle>
          <a:p>
            <a:pPr lvl="0"/>
            <a:r>
              <a:rPr lang="en-US"/>
              <a:t>Session or demo title</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pic>
        <p:nvPicPr>
          <p:cNvPr id="3" name="MS logo gray - EMF" descr="Microsoft logo, gray text version">
            <a:extLst>
              <a:ext uri="{FF2B5EF4-FFF2-40B4-BE49-F238E27FC236}">
                <a16:creationId xmlns:a16="http://schemas.microsoft.com/office/drawing/2014/main" id="{B1E4D60A-74D4-CACF-489D-0AF2C448AF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64007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74375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2910700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Tree>
    <p:extLst>
      <p:ext uri="{BB962C8B-B14F-4D97-AF65-F5344CB8AC3E}">
        <p14:creationId xmlns:p14="http://schemas.microsoft.com/office/powerpoint/2010/main" val="3330752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8123F49-93E0-6565-D751-6118D59E7A6F}"/>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53039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1"/>
            <a:ext cx="12191998" cy="6857999"/>
          </a:xfrm>
          <a:prstGeom prst="rect">
            <a:avLst/>
          </a:prstGeom>
        </p:spPr>
      </p:pic>
      <p:sp>
        <p:nvSpPr>
          <p:cNvPr id="2" name="Rectangle 1">
            <a:extLst>
              <a:ext uri="{FF2B5EF4-FFF2-40B4-BE49-F238E27FC236}">
                <a16:creationId xmlns:a16="http://schemas.microsoft.com/office/drawing/2014/main" id="{D1865211-64D4-C70B-9C4D-A49F8FEDABB2}"/>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708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2" name="Rectangle 1">
            <a:extLst>
              <a:ext uri="{FF2B5EF4-FFF2-40B4-BE49-F238E27FC236}">
                <a16:creationId xmlns:a16="http://schemas.microsoft.com/office/drawing/2014/main" id="{8911239C-96A0-8D2F-7362-97B5CA6FDC5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7116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3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15CA8489-A6A1-F0B5-19F6-A9740E2EAD2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33506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3_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
        <p:nvSpPr>
          <p:cNvPr id="2" name="Rectangle 1">
            <a:extLst>
              <a:ext uri="{FF2B5EF4-FFF2-40B4-BE49-F238E27FC236}">
                <a16:creationId xmlns:a16="http://schemas.microsoft.com/office/drawing/2014/main" id="{23690FFF-6441-3296-3242-C495BB3E7E72}"/>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47279177"/>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_Title Slide 2">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F2630F-9D54-C9E6-5F76-BA1370320369}"/>
              </a:ext>
              <a:ext uri="{C183D7F6-B498-43B3-948B-1728B52AA6E4}">
                <adec:decorative xmlns:adec="http://schemas.microsoft.com/office/drawing/2017/decorative" val="1"/>
              </a:ext>
            </a:extLst>
          </p:cNvPr>
          <p:cNvSpPr/>
          <p:nvPr userDrawn="1"/>
        </p:nvSpPr>
        <p:spPr>
          <a:xfrm>
            <a:off x="0" y="0"/>
            <a:ext cx="12192000" cy="6857999"/>
          </a:xfrm>
          <a:prstGeom prst="rect">
            <a:avLst/>
          </a:prstGeom>
          <a:gradFill flip="none" rotWithShape="1">
            <a:gsLst>
              <a:gs pos="0">
                <a:schemeClr val="accent4"/>
              </a:gs>
              <a:gs pos="100000">
                <a:schemeClr val="accent6"/>
              </a:gs>
              <a:gs pos="52000">
                <a:srgbClr val="8661C5"/>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4848632" cy="1329595"/>
          </a:xfrm>
          <a:noFill/>
        </p:spPr>
        <p:txBody>
          <a:bodyPr vert="horz" wrap="square" lIns="0" tIns="0" rIns="0" bIns="0" rtlCol="0" anchor="b" anchorCtr="0">
            <a:spAutoFit/>
          </a:bodyPr>
          <a:lstStyle>
            <a:lvl1pPr>
              <a:defRPr lang="en-US" sz="4800" dirty="0">
                <a:solidFill>
                  <a:schemeClr val="bg1"/>
                </a:solidFill>
              </a:defRPr>
            </a:lvl1pPr>
          </a:lstStyle>
          <a:p>
            <a:pPr lvl="0"/>
            <a:r>
              <a:rPr lang="en-US"/>
              <a:t>Event name or presentation title </a:t>
            </a:r>
          </a:p>
        </p:txBody>
      </p:sp>
    </p:spTree>
    <p:extLst>
      <p:ext uri="{BB962C8B-B14F-4D97-AF65-F5344CB8AC3E}">
        <p14:creationId xmlns:p14="http://schemas.microsoft.com/office/powerpoint/2010/main" val="1484218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97812099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E5F6D8AE-12E3-3B11-B34F-E2C5860AB9EB}"/>
              </a:ext>
            </a:extLst>
          </p:cNvPr>
          <p:cNvSpPr>
            <a:spLocks noGrp="1"/>
          </p:cNvSpPr>
          <p:nvPr>
            <p:ph type="title" hasCustomPrompt="1"/>
          </p:nvPr>
        </p:nvSpPr>
        <p:spPr>
          <a:xfrm>
            <a:off x="585216" y="3033223"/>
            <a:ext cx="9144000"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Section divider</a:t>
            </a:r>
          </a:p>
        </p:txBody>
      </p:sp>
      <p:sp>
        <p:nvSpPr>
          <p:cNvPr id="7" name="Text Placeholder 4">
            <a:extLst>
              <a:ext uri="{FF2B5EF4-FFF2-40B4-BE49-F238E27FC236}">
                <a16:creationId xmlns:a16="http://schemas.microsoft.com/office/drawing/2014/main" id="{E745F133-79AD-2D10-2A29-D251C1E6B085}"/>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 or speaker name</a:t>
            </a:r>
          </a:p>
        </p:txBody>
      </p:sp>
    </p:spTree>
    <p:extLst>
      <p:ext uri="{BB962C8B-B14F-4D97-AF65-F5344CB8AC3E}">
        <p14:creationId xmlns:p14="http://schemas.microsoft.com/office/powerpoint/2010/main" val="15898896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2057002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142024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8637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06179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32983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15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r:embed="rId2">
                <a:alphaModFix amt="10000"/>
                <a:extLst>
                  <a:ext uri="{96DAC541-7B7A-43D3-8B79-37D633B846F1}">
                    <asvg:svgBlip xmlns:asvg="http://schemas.microsoft.com/office/drawing/2016/SVG/main" r:embed="rId3"/>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r>
              <a:rPr lang="en-US"/>
              <a:t>Click to edit Master title style</a:t>
            </a:r>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20523130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9230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r:embed="rId2">
                <a:alphaModFix amt="10000"/>
                <a:extLst>
                  <a:ext uri="{96DAC541-7B7A-43D3-8B79-37D633B846F1}">
                    <asvg:svgBlip xmlns:asvg="http://schemas.microsoft.com/office/drawing/2016/SVG/main" r:embed="rId3"/>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31967396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61433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0BE56-F0EE-EEDB-42B9-3EC933E0D454}"/>
              </a:ext>
            </a:extLst>
          </p:cNvPr>
          <p:cNvSpPr>
            <a:spLocks noGrp="1"/>
          </p:cNvSpPr>
          <p:nvPr>
            <p:ph type="title"/>
          </p:nvPr>
        </p:nvSpPr>
        <p:spPr>
          <a:xfrm>
            <a:off x="586740" y="1591056"/>
            <a:ext cx="3409188" cy="738664"/>
          </a:xfrm>
        </p:spPr>
        <p:txBody>
          <a:bodyPr/>
          <a:lstStyle>
            <a:lvl1pPr>
              <a:defRPr sz="2400">
                <a:latin typeface="+mj-lt"/>
              </a:defRPr>
            </a:lvl1pPr>
          </a:lstStyle>
          <a:p>
            <a:r>
              <a:rPr lang="en-US"/>
              <a:t>Click to edit Master title style</a:t>
            </a:r>
          </a:p>
        </p:txBody>
      </p:sp>
      <p:sp>
        <p:nvSpPr>
          <p:cNvPr id="3" name="Slide Number Placeholder 2">
            <a:extLst>
              <a:ext uri="{FF2B5EF4-FFF2-40B4-BE49-F238E27FC236}">
                <a16:creationId xmlns:a16="http://schemas.microsoft.com/office/drawing/2014/main" id="{4F544726-BAF2-8A79-8DCC-0EDFFC5009D3}"/>
              </a:ext>
            </a:extLst>
          </p:cNvPr>
          <p:cNvSpPr>
            <a:spLocks noGrp="1"/>
          </p:cNvSpPr>
          <p:nvPr>
            <p:ph type="sldNum" sz="quarter" idx="10"/>
          </p:nvPr>
        </p:nvSpPr>
        <p:spPr>
          <a:xfrm>
            <a:off x="9296400" y="6427471"/>
            <a:ext cx="2743200" cy="365125"/>
          </a:xfrm>
          <a:prstGeom prst="rect">
            <a:avLst/>
          </a:prstGeom>
        </p:spPr>
        <p:txBody>
          <a:bodyPr/>
          <a:lstStyle/>
          <a:p>
            <a:fld id="{F649A1B1-5A8E-4E46-95DF-CCAC78182983}" type="slidenum">
              <a:rPr lang="en-US" smtClean="0"/>
              <a:pPr/>
              <a:t>‹#›</a:t>
            </a:fld>
            <a:endParaRPr lang="en-US"/>
          </a:p>
        </p:txBody>
      </p:sp>
    </p:spTree>
    <p:extLst>
      <p:ext uri="{BB962C8B-B14F-4D97-AF65-F5344CB8AC3E}">
        <p14:creationId xmlns:p14="http://schemas.microsoft.com/office/powerpoint/2010/main" val="60178948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Title 6">
            <a:extLst>
              <a:ext uri="{FF2B5EF4-FFF2-40B4-BE49-F238E27FC236}">
                <a16:creationId xmlns:a16="http://schemas.microsoft.com/office/drawing/2014/main" id="{4E399E1B-A281-406B-2B38-EEFD19875D89}"/>
              </a:ext>
            </a:extLst>
          </p:cNvPr>
          <p:cNvSpPr>
            <a:spLocks noGrp="1"/>
          </p:cNvSpPr>
          <p:nvPr>
            <p:ph type="title"/>
          </p:nvPr>
        </p:nvSpPr>
        <p:spPr>
          <a:xfrm>
            <a:off x="584200" y="3033223"/>
            <a:ext cx="11018520"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Click to edit Master title style</a:t>
            </a:r>
          </a:p>
        </p:txBody>
      </p:sp>
    </p:spTree>
    <p:extLst>
      <p:ext uri="{BB962C8B-B14F-4D97-AF65-F5344CB8AC3E}">
        <p14:creationId xmlns:p14="http://schemas.microsoft.com/office/powerpoint/2010/main" val="609886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37922825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6740"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3166490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CED43A-F576-013F-29B9-CEE07A256F07}"/>
              </a:ext>
            </a:extLst>
          </p:cNvPr>
          <p:cNvSpPr/>
          <p:nvPr userDrawn="1"/>
        </p:nvSpPr>
        <p:spPr bwMode="auto">
          <a:xfrm>
            <a:off x="9257414" y="70884"/>
            <a:ext cx="2665228" cy="58124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614606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2167682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Only">
  <p:cSld name="Title Only_N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0C2C4-9465-E7E0-7BE9-86A26DFC42F2}"/>
              </a:ext>
            </a:extLst>
          </p:cNvPr>
          <p:cNvSpPr>
            <a:spLocks noGrp="1"/>
          </p:cNvSpPr>
          <p:nvPr>
            <p:ph type="title"/>
          </p:nvPr>
        </p:nvSpPr>
        <p:spPr>
          <a:xfrm>
            <a:off x="500856" y="951639"/>
            <a:ext cx="5595144" cy="802903"/>
          </a:xfrm>
        </p:spPr>
        <p:txBody>
          <a:bodyPr vert="horz" lIns="0" tIns="45720" rIns="0" bIns="45720" rtlCol="0" anchor="t">
            <a:noAutofit/>
          </a:bodyPr>
          <a:lstStyle>
            <a:lvl1pPr>
              <a:defRPr lang="en-US" sz="2800" dirty="0">
                <a:latin typeface="+mj-lt"/>
              </a:defRPr>
            </a:lvl1pPr>
          </a:lstStyle>
          <a:p>
            <a:pPr marL="0" lvl="0">
              <a:spcBef>
                <a:spcPts val="1200"/>
              </a:spcBef>
              <a:spcAft>
                <a:spcPts val="600"/>
              </a:spcAft>
            </a:pPr>
            <a:r>
              <a:rPr lang="en-US"/>
              <a:t>Click to edit Master title style</a:t>
            </a:r>
          </a:p>
        </p:txBody>
      </p:sp>
      <p:sp>
        <p:nvSpPr>
          <p:cNvPr id="6" name="Rectangle 5">
            <a:extLst>
              <a:ext uri="{FF2B5EF4-FFF2-40B4-BE49-F238E27FC236}">
                <a16:creationId xmlns:a16="http://schemas.microsoft.com/office/drawing/2014/main" id="{13B6268A-8C5A-79C7-F256-9D7F5556F6C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11529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Slide 5">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0476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23DB3A-52AD-5804-E6F5-4DE010B8448A}"/>
              </a:ext>
            </a:extLst>
          </p:cNvPr>
          <p:cNvPicPr>
            <a:picLocks noChangeAspect="1"/>
          </p:cNvPicPr>
          <p:nvPr userDrawn="1"/>
        </p:nvPicPr>
        <p:blipFill rotWithShape="1">
          <a:blip r:embed="rId2" cstate="screen">
            <a:alphaModFix amt="46000"/>
            <a:extLst>
              <a:ext uri="{28A0092B-C50C-407E-A947-70E740481C1C}">
                <a14:useLocalDpi xmlns:a14="http://schemas.microsoft.com/office/drawing/2010/main"/>
              </a:ext>
            </a:extLst>
          </a:blip>
          <a:srcRect l="10595" t="987" r="10595"/>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4635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Title Only (white version)">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E64D87-2401-A0A7-DF2D-1C4E5579537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26E64D87-2401-A0A7-DF2D-1C4E55795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lvl1pPr>
              <a:defRPr>
                <a:solidFill>
                  <a:schemeClr val="accent6">
                    <a:lumMod val="50000"/>
                  </a:schemeClr>
                </a:solidFill>
              </a:defRPr>
            </a:lvl1pPr>
          </a:lstStyle>
          <a:p>
            <a:endParaRPr lang="en-US"/>
          </a:p>
        </p:txBody>
      </p:sp>
    </p:spTree>
    <p:extLst>
      <p:ext uri="{BB962C8B-B14F-4D97-AF65-F5344CB8AC3E}">
        <p14:creationId xmlns:p14="http://schemas.microsoft.com/office/powerpoint/2010/main" val="12161249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and Three Contents, with headers">
    <p:spTree>
      <p:nvGrpSpPr>
        <p:cNvPr id="1" name=""/>
        <p:cNvGrpSpPr/>
        <p:nvPr/>
      </p:nvGrpSpPr>
      <p:grpSpPr>
        <a:xfrm>
          <a:off x="0" y="0"/>
          <a:ext cx="0" cy="0"/>
          <a:chOff x="0" y="0"/>
          <a:chExt cx="0" cy="0"/>
        </a:xfrm>
      </p:grpSpPr>
      <p:pic>
        <p:nvPicPr>
          <p:cNvPr id="7" name="Picture 6" descr="A blurry image of a person's hand&#10;&#10;Description automatically generated">
            <a:extLst>
              <a:ext uri="{FF2B5EF4-FFF2-40B4-BE49-F238E27FC236}">
                <a16:creationId xmlns:a16="http://schemas.microsoft.com/office/drawing/2014/main" id="{093B630B-98F0-A558-44D6-C08F95FB3C1E}"/>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t="2407"/>
          <a:stretch/>
        </p:blipFill>
        <p:spPr>
          <a:xfrm>
            <a:off x="0" y="0"/>
            <a:ext cx="12192000" cy="6718300"/>
          </a:xfrm>
          <a:prstGeom prst="rect">
            <a:avLst/>
          </a:prstGeom>
        </p:spPr>
      </p:pic>
      <p:sp>
        <p:nvSpPr>
          <p:cNvPr id="13" name="Rectangle: Rounded Corners 12">
            <a:extLst>
              <a:ext uri="{FF2B5EF4-FFF2-40B4-BE49-F238E27FC236}">
                <a16:creationId xmlns:a16="http://schemas.microsoft.com/office/drawing/2014/main" id="{2F97E769-CE7C-834C-6E78-FACC556A247F}"/>
              </a:ext>
            </a:extLst>
          </p:cNvPr>
          <p:cNvSpPr/>
          <p:nvPr userDrawn="1"/>
        </p:nvSpPr>
        <p:spPr>
          <a:xfrm>
            <a:off x="549275"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Content Placeholder 9">
            <a:extLst>
              <a:ext uri="{FF2B5EF4-FFF2-40B4-BE49-F238E27FC236}">
                <a16:creationId xmlns:a16="http://schemas.microsoft.com/office/drawing/2014/main" id="{2C728C39-0419-E964-E346-BE537CF07099}"/>
              </a:ext>
            </a:extLst>
          </p:cNvPr>
          <p:cNvSpPr>
            <a:spLocks noGrp="1"/>
          </p:cNvSpPr>
          <p:nvPr>
            <p:ph sz="quarter" idx="16"/>
          </p:nvPr>
        </p:nvSpPr>
        <p:spPr>
          <a:xfrm>
            <a:off x="822960"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A17C1B5-8C73-489B-B527-0AEF26BAC008}"/>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B9370407-EBCA-77DD-F103-9EE016845C78}"/>
              </a:ext>
            </a:extLst>
          </p:cNvPr>
          <p:cNvSpPr>
            <a:spLocks noGrp="1"/>
          </p:cNvSpPr>
          <p:nvPr>
            <p:ph type="ftr" sz="quarter" idx="11"/>
          </p:nvPr>
        </p:nvSpPr>
        <p:spPr>
          <a:xfrm>
            <a:off x="549274" y="6341190"/>
            <a:ext cx="5480051" cy="246221"/>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rPr>
              <a:t>© Copyright Microsoft Corporation. All rights reserved.</a:t>
            </a:r>
          </a:p>
        </p:txBody>
      </p:sp>
      <p:sp>
        <p:nvSpPr>
          <p:cNvPr id="8" name="Slide Number Placeholder 7">
            <a:extLst>
              <a:ext uri="{FF2B5EF4-FFF2-40B4-BE49-F238E27FC236}">
                <a16:creationId xmlns:a16="http://schemas.microsoft.com/office/drawing/2014/main" id="{5CA02BBB-A5DB-8DFB-47F1-494DD1C45354}"/>
              </a:ext>
            </a:extLst>
          </p:cNvPr>
          <p:cNvSpPr>
            <a:spLocks noGrp="1"/>
          </p:cNvSpPr>
          <p:nvPr>
            <p:ph type="sldNum" sz="quarter" idx="12"/>
          </p:nvPr>
        </p:nvSpPr>
        <p:spPr>
          <a:xfrm>
            <a:off x="9904413" y="6331904"/>
            <a:ext cx="1734079" cy="24622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7CA0B0-04EF-433A-8113-67BC344D39D3}" type="slidenum">
              <a:rPr kumimoji="0" lang="en-US" sz="1000" b="0" i="0" u="none" strike="noStrike" kern="1200" cap="none" spc="0" normalizeH="0" baseline="0" noProof="0" smtClean="0">
                <a:ln>
                  <a:noFill/>
                </a:ln>
                <a:solidFill>
                  <a:prstClr val="black">
                    <a:lumMod val="50000"/>
                    <a:lumOff val="50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endParaRPr>
          </a:p>
        </p:txBody>
      </p:sp>
      <p:sp>
        <p:nvSpPr>
          <p:cNvPr id="10" name="Content Placeholder 9">
            <a:extLst>
              <a:ext uri="{FF2B5EF4-FFF2-40B4-BE49-F238E27FC236}">
                <a16:creationId xmlns:a16="http://schemas.microsoft.com/office/drawing/2014/main" id="{11280968-7614-5E59-F463-E4CC029276B5}"/>
              </a:ext>
            </a:extLst>
          </p:cNvPr>
          <p:cNvSpPr>
            <a:spLocks noGrp="1"/>
          </p:cNvSpPr>
          <p:nvPr>
            <p:ph sz="quarter" idx="13"/>
          </p:nvPr>
        </p:nvSpPr>
        <p:spPr>
          <a:xfrm>
            <a:off x="822960"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7A4E2FA7-78F4-CE92-D223-8C014E6AE8EC}"/>
              </a:ext>
            </a:extLst>
          </p:cNvPr>
          <p:cNvSpPr/>
          <p:nvPr userDrawn="1"/>
        </p:nvSpPr>
        <p:spPr>
          <a:xfrm>
            <a:off x="4292600"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Content Placeholder 9">
            <a:extLst>
              <a:ext uri="{FF2B5EF4-FFF2-40B4-BE49-F238E27FC236}">
                <a16:creationId xmlns:a16="http://schemas.microsoft.com/office/drawing/2014/main" id="{92883E98-232B-B898-414F-DDE5C5E11218}"/>
              </a:ext>
            </a:extLst>
          </p:cNvPr>
          <p:cNvSpPr>
            <a:spLocks noGrp="1"/>
          </p:cNvSpPr>
          <p:nvPr>
            <p:ph sz="quarter" idx="19"/>
          </p:nvPr>
        </p:nvSpPr>
        <p:spPr>
          <a:xfrm>
            <a:off x="4566285"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9">
            <a:extLst>
              <a:ext uri="{FF2B5EF4-FFF2-40B4-BE49-F238E27FC236}">
                <a16:creationId xmlns:a16="http://schemas.microsoft.com/office/drawing/2014/main" id="{5870A569-9AC6-E02F-AF2A-75194B98A477}"/>
              </a:ext>
            </a:extLst>
          </p:cNvPr>
          <p:cNvSpPr>
            <a:spLocks noGrp="1"/>
          </p:cNvSpPr>
          <p:nvPr>
            <p:ph sz="quarter" idx="20"/>
          </p:nvPr>
        </p:nvSpPr>
        <p:spPr>
          <a:xfrm>
            <a:off x="4566285"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Rounded Corners 16">
            <a:extLst>
              <a:ext uri="{FF2B5EF4-FFF2-40B4-BE49-F238E27FC236}">
                <a16:creationId xmlns:a16="http://schemas.microsoft.com/office/drawing/2014/main" id="{A61ABB56-C7EE-A8CD-C650-27C337665104}"/>
              </a:ext>
            </a:extLst>
          </p:cNvPr>
          <p:cNvSpPr/>
          <p:nvPr userDrawn="1"/>
        </p:nvSpPr>
        <p:spPr>
          <a:xfrm>
            <a:off x="8035925"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Content Placeholder 9">
            <a:extLst>
              <a:ext uri="{FF2B5EF4-FFF2-40B4-BE49-F238E27FC236}">
                <a16:creationId xmlns:a16="http://schemas.microsoft.com/office/drawing/2014/main" id="{74BD3DEB-0F5A-21AC-2073-684743277D6F}"/>
              </a:ext>
            </a:extLst>
          </p:cNvPr>
          <p:cNvSpPr>
            <a:spLocks noGrp="1"/>
          </p:cNvSpPr>
          <p:nvPr>
            <p:ph sz="quarter" idx="21"/>
          </p:nvPr>
        </p:nvSpPr>
        <p:spPr>
          <a:xfrm>
            <a:off x="8309610"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9">
            <a:extLst>
              <a:ext uri="{FF2B5EF4-FFF2-40B4-BE49-F238E27FC236}">
                <a16:creationId xmlns:a16="http://schemas.microsoft.com/office/drawing/2014/main" id="{E4C0661F-DF3B-0C61-5CBE-9185A9690B3E}"/>
              </a:ext>
            </a:extLst>
          </p:cNvPr>
          <p:cNvSpPr>
            <a:spLocks noGrp="1"/>
          </p:cNvSpPr>
          <p:nvPr>
            <p:ph sz="quarter" idx="22"/>
          </p:nvPr>
        </p:nvSpPr>
        <p:spPr>
          <a:xfrm>
            <a:off x="8309610"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0852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Section Title">
    <p:bg>
      <p:bgPr>
        <a:solidFill>
          <a:srgbClr val="B2E8E2"/>
        </a:solidFill>
        <a:effectLst/>
      </p:bgPr>
    </p:bg>
    <p:spTree>
      <p:nvGrpSpPr>
        <p:cNvPr id="1" name=""/>
        <p:cNvGrpSpPr/>
        <p:nvPr/>
      </p:nvGrpSpPr>
      <p:grpSpPr>
        <a:xfrm>
          <a:off x="0" y="0"/>
          <a:ext cx="0" cy="0"/>
          <a:chOff x="0" y="0"/>
          <a:chExt cx="0" cy="0"/>
        </a:xfrm>
      </p:grpSpPr>
      <p:pic>
        <p:nvPicPr>
          <p:cNvPr id="4" name="Picture 3" descr="A blue and purple hexagons&#10;&#10;Description automatically generated">
            <a:extLst>
              <a:ext uri="{FF2B5EF4-FFF2-40B4-BE49-F238E27FC236}">
                <a16:creationId xmlns:a16="http://schemas.microsoft.com/office/drawing/2014/main" id="{4A61EC96-D427-E3BD-8279-AE0B53BFFC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18231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85800" indent="0">
              <a:buNone/>
              <a:defRPr>
                <a:solidFill>
                  <a:schemeClr val="tx1"/>
                </a:solidFill>
              </a:defRPr>
            </a:lvl4pPr>
            <a:lvl5pPr marL="9144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7A7F81D6-D960-882D-2677-0F5176A5B3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12153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1868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 Square Photo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1"/>
            <a:ext cx="6892925" cy="430887"/>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5" y="457200"/>
            <a:ext cx="4416425" cy="1107996"/>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4" y="1436689"/>
            <a:ext cx="3470275" cy="2043636"/>
          </a:xfrm>
        </p:spPr>
        <p:txBody>
          <a:bodyPr/>
          <a:lstStyle>
            <a:lvl1pPr marL="0" indent="0">
              <a:buFontTx/>
              <a:buNone/>
              <a:defRPr/>
            </a:lvl1pPr>
            <a:lvl2pPr marL="228594" indent="0">
              <a:buFontTx/>
              <a:buNone/>
              <a:defRPr/>
            </a:lvl2pPr>
            <a:lvl3pPr marL="457189" indent="0">
              <a:buFontTx/>
              <a:buNone/>
              <a:defRPr/>
            </a:lvl3pPr>
            <a:lvl4pPr marL="661971" indent="0">
              <a:buFontTx/>
              <a:buNone/>
              <a:defRPr/>
            </a:lvl4pPr>
            <a:lvl5pPr marL="8556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65580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3">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Title and Content - rebui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baseline="0">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49274" y="1638301"/>
            <a:ext cx="11093451" cy="4603750"/>
          </a:xfrm>
        </p:spPr>
        <p:txBody>
          <a:bodyPr/>
          <a:lstStyle>
            <a:lvl1pPr>
              <a:defRPr baseline="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7" name="Slide Number Placeholder 6">
            <a:extLst>
              <a:ext uri="{FF2B5EF4-FFF2-40B4-BE49-F238E27FC236}">
                <a16:creationId xmlns:a16="http://schemas.microsoft.com/office/drawing/2014/main" id="{6361D7DC-9D69-D3C0-A342-7E96CE282816}"/>
              </a:ext>
            </a:extLst>
          </p:cNvPr>
          <p:cNvSpPr>
            <a:spLocks noGrp="1"/>
          </p:cNvSpPr>
          <p:nvPr>
            <p:ph type="sldNum" sz="quarter" idx="12"/>
          </p:nvPr>
        </p:nvSpPr>
        <p:spPr/>
        <p:txBody>
          <a:bodyPr/>
          <a:lstStyle/>
          <a:p>
            <a:fld id="{DC48A51A-34A3-4597-969C-A01C1BAEFC32}" type="slidenum">
              <a:rPr lang="en-US" smtClean="0"/>
              <a:t>‹#›</a:t>
            </a:fld>
            <a:endParaRPr lang="en-US"/>
          </a:p>
        </p:txBody>
      </p:sp>
    </p:spTree>
    <p:extLst>
      <p:ext uri="{BB962C8B-B14F-4D97-AF65-F5344CB8AC3E}">
        <p14:creationId xmlns:p14="http://schemas.microsoft.com/office/powerpoint/2010/main" val="3433834141"/>
      </p:ext>
    </p:extLst>
  </p:cSld>
  <p:clrMapOvr>
    <a:masterClrMapping/>
  </p:clrMapOvr>
  <p:transition>
    <p:fade/>
  </p:transition>
  <p:extLst>
    <p:ext uri="{DCECCB84-F9BA-43D5-87BE-67443E8EF086}">
      <p15:sldGuideLst xmlns:p15="http://schemas.microsoft.com/office/powerpoint/2012/main">
        <p15:guide id="3"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_Gradient_Purple">
    <p:bg>
      <p:bgPr>
        <a:gradFill>
          <a:gsLst>
            <a:gs pos="0">
              <a:srgbClr val="C03BC4"/>
            </a:gs>
            <a:gs pos="81000">
              <a:srgbClr val="0078D4"/>
            </a:gs>
          </a:gsLst>
          <a:lin ang="13500000" scaled="1"/>
        </a:gra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EDF3DE4-8628-A0E3-0518-AA5354E77E18}"/>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bg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a:t>
            </a:r>
          </a:p>
        </p:txBody>
      </p:sp>
      <p:sp>
        <p:nvSpPr>
          <p:cNvPr id="4" name="Text Placeholder 4">
            <a:extLst>
              <a:ext uri="{FF2B5EF4-FFF2-40B4-BE49-F238E27FC236}">
                <a16:creationId xmlns:a16="http://schemas.microsoft.com/office/drawing/2014/main" id="{9F62B460-7838-D919-2107-2AE2DB807FF1}"/>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Date</a:t>
            </a:r>
          </a:p>
        </p:txBody>
      </p:sp>
      <p:sp>
        <p:nvSpPr>
          <p:cNvPr id="5" name="Text Placeholder 4">
            <a:extLst>
              <a:ext uri="{FF2B5EF4-FFF2-40B4-BE49-F238E27FC236}">
                <a16:creationId xmlns:a16="http://schemas.microsoft.com/office/drawing/2014/main" id="{AE54E53D-428B-872F-679F-3347A7E78D46}"/>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bg1"/>
                </a:solidFill>
                <a:latin typeface="+mn-lt"/>
                <a:cs typeface="Segoe UI" panose="020B0502040204020203" pitchFamily="34" charset="0"/>
              </a:defRPr>
            </a:lvl1pPr>
          </a:lstStyle>
          <a:p>
            <a:pPr lvl="0"/>
            <a:r>
              <a:rPr lang="en-US"/>
              <a:t>Microsoft confidential</a:t>
            </a: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75835"/>
          <a:stretch/>
        </p:blipFill>
        <p:spPr bwMode="black">
          <a:xfrm>
            <a:off x="584200" y="585788"/>
            <a:ext cx="330200" cy="292608"/>
          </a:xfrm>
          <a:prstGeom prst="rect">
            <a:avLst/>
          </a:prstGeom>
        </p:spPr>
      </p:pic>
      <p:pic>
        <p:nvPicPr>
          <p:cNvPr id="6" name="MS logo gray - EMF">
            <a:extLst>
              <a:ext uri="{FF2B5EF4-FFF2-40B4-BE49-F238E27FC236}">
                <a16:creationId xmlns:a16="http://schemas.microsoft.com/office/drawing/2014/main" id="{3C2D310F-67E2-4926-1F5C-2FAFE134DBB8}"/>
              </a:ext>
            </a:extLst>
          </p:cNvPr>
          <p:cNvPicPr>
            <a:picLocks noChangeAspect="1"/>
          </p:cNvPicPr>
          <p:nvPr userDrawn="1"/>
        </p:nvPicPr>
        <p:blipFill rotWithShape="1">
          <a:blip r:embed="rId2" cstate="screen">
            <a:lum bright="100000" contrast="100000"/>
            <a:extLst>
              <a:ext uri="{28A0092B-C50C-407E-A947-70E740481C1C}">
                <a14:useLocalDpi xmlns:a14="http://schemas.microsoft.com/office/drawing/2010/main"/>
              </a:ext>
            </a:extLst>
          </a:blip>
          <a:srcRect l="24323"/>
          <a:stretch/>
        </p:blipFill>
        <p:spPr bwMode="black">
          <a:xfrm>
            <a:off x="914400" y="585788"/>
            <a:ext cx="1034082" cy="292608"/>
          </a:xfrm>
          <a:prstGeom prst="rect">
            <a:avLst/>
          </a:prstGeom>
        </p:spPr>
      </p:pic>
    </p:spTree>
    <p:extLst>
      <p:ext uri="{BB962C8B-B14F-4D97-AF65-F5344CB8AC3E}">
        <p14:creationId xmlns:p14="http://schemas.microsoft.com/office/powerpoint/2010/main" val="1671628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ross Platform Additional Deck Intro">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FC6D84C9-F0D0-2E7D-2082-0E0EAA97BC32}"/>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Rectangle: Single Corner Rounded 6">
            <a:extLst>
              <a:ext uri="{FF2B5EF4-FFF2-40B4-BE49-F238E27FC236}">
                <a16:creationId xmlns:a16="http://schemas.microsoft.com/office/drawing/2014/main" id="{14C1DEFF-1CC8-4FA3-1BA4-C46D4165E041}"/>
              </a:ext>
            </a:extLst>
          </p:cNvPr>
          <p:cNvSpPr/>
          <p:nvPr userDrawn="1"/>
        </p:nvSpPr>
        <p:spPr>
          <a:xfrm rot="10800000">
            <a:off x="6925824" y="-3432"/>
            <a:ext cx="5266175" cy="6864864"/>
          </a:xfrm>
          <a:prstGeom prst="round1Rect">
            <a:avLst>
              <a:gd name="adj" fmla="val 30051"/>
            </a:avLst>
          </a:prstGeom>
          <a:solidFill>
            <a:schemeClr val="bg2">
              <a:lumMod val="75000"/>
            </a:schemeClr>
          </a:solidFill>
          <a:ln w="13730" cap="flat">
            <a:noFill/>
            <a:prstDash val="solid"/>
            <a:miter/>
          </a:ln>
          <a:effectLst>
            <a:outerShdw blurRad="990600" dist="38100" algn="l" rotWithShape="0">
              <a:prstClr val="black">
                <a:alpha val="14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1EE70375-B879-2E04-7DE9-267858168E40}"/>
              </a:ext>
            </a:extLst>
          </p:cNvPr>
          <p:cNvGrpSpPr/>
          <p:nvPr userDrawn="1"/>
        </p:nvGrpSpPr>
        <p:grpSpPr>
          <a:xfrm>
            <a:off x="9687834" y="5133271"/>
            <a:ext cx="2504165" cy="1728160"/>
            <a:chOff x="9687834" y="5133271"/>
            <a:chExt cx="2504165" cy="1728160"/>
          </a:xfrm>
        </p:grpSpPr>
        <p:sp>
          <p:nvSpPr>
            <p:cNvPr id="11" name="Rectangle: Single Corner Rounded 10">
              <a:extLst>
                <a:ext uri="{FF2B5EF4-FFF2-40B4-BE49-F238E27FC236}">
                  <a16:creationId xmlns:a16="http://schemas.microsoft.com/office/drawing/2014/main" id="{3E49D4A0-C4CF-0AA5-5EB4-3D4E52E194CA}"/>
                </a:ext>
              </a:extLst>
            </p:cNvPr>
            <p:cNvSpPr/>
            <p:nvPr/>
          </p:nvSpPr>
          <p:spPr>
            <a:xfrm flipH="1">
              <a:off x="9687834" y="5517291"/>
              <a:ext cx="2120144" cy="1344140"/>
            </a:xfrm>
            <a:prstGeom prst="round1Rect">
              <a:avLst>
                <a:gd name="adj" fmla="val 50000"/>
              </a:avLst>
            </a:pr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5">
              <a:extLst>
                <a:ext uri="{FF2B5EF4-FFF2-40B4-BE49-F238E27FC236}">
                  <a16:creationId xmlns:a16="http://schemas.microsoft.com/office/drawing/2014/main" id="{21736647-7677-95A4-E03E-CFB1CE5ED12C}"/>
                </a:ext>
              </a:extLst>
            </p:cNvPr>
            <p:cNvSpPr/>
            <p:nvPr/>
          </p:nvSpPr>
          <p:spPr>
            <a:xfrm>
              <a:off x="11807979" y="5133271"/>
              <a:ext cx="384020" cy="384020"/>
            </a:xfrm>
            <a:custGeom>
              <a:avLst/>
              <a:gdLst>
                <a:gd name="connsiteX0" fmla="*/ 0 w 384020"/>
                <a:gd name="connsiteY0" fmla="*/ 0 h 384020"/>
                <a:gd name="connsiteX1" fmla="*/ 384021 w 384020"/>
                <a:gd name="connsiteY1" fmla="*/ 0 h 384020"/>
                <a:gd name="connsiteX2" fmla="*/ 384021 w 384020"/>
                <a:gd name="connsiteY2" fmla="*/ 384021 h 384020"/>
                <a:gd name="connsiteX3" fmla="*/ 0 w 384020"/>
                <a:gd name="connsiteY3" fmla="*/ 384021 h 384020"/>
              </a:gdLst>
              <a:ahLst/>
              <a:cxnLst>
                <a:cxn ang="0">
                  <a:pos x="connsiteX0" y="connsiteY0"/>
                </a:cxn>
                <a:cxn ang="0">
                  <a:pos x="connsiteX1" y="connsiteY1"/>
                </a:cxn>
                <a:cxn ang="0">
                  <a:pos x="connsiteX2" y="connsiteY2"/>
                </a:cxn>
                <a:cxn ang="0">
                  <a:pos x="connsiteX3" y="connsiteY3"/>
                </a:cxn>
              </a:cxnLst>
              <a:rect l="l" t="t" r="r" b="b"/>
              <a:pathLst>
                <a:path w="384020" h="384020">
                  <a:moveTo>
                    <a:pt x="0" y="0"/>
                  </a:moveTo>
                  <a:lnTo>
                    <a:pt x="384021" y="0"/>
                  </a:lnTo>
                  <a:lnTo>
                    <a:pt x="384021" y="384021"/>
                  </a:lnTo>
                  <a:lnTo>
                    <a:pt x="0" y="384021"/>
                  </a:lnTo>
                  <a:close/>
                </a:path>
              </a:pathLst>
            </a:custGeom>
            <a:solidFill>
              <a:schemeClr val="bg2">
                <a:lumMod val="60000"/>
                <a:lumOff val="4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746C5367-4BDF-E244-6A42-C9CC3CDE3E7B}"/>
              </a:ext>
            </a:extLst>
          </p:cNvPr>
          <p:cNvGrpSpPr/>
          <p:nvPr userDrawn="1"/>
        </p:nvGrpSpPr>
        <p:grpSpPr>
          <a:xfrm>
            <a:off x="7795920" y="4037990"/>
            <a:ext cx="1891914" cy="1010359"/>
            <a:chOff x="604894" y="4447838"/>
            <a:chExt cx="1891914" cy="1010359"/>
          </a:xfrm>
        </p:grpSpPr>
        <p:sp>
          <p:nvSpPr>
            <p:cNvPr id="14" name="Freeform: Shape 33">
              <a:extLst>
                <a:ext uri="{FF2B5EF4-FFF2-40B4-BE49-F238E27FC236}">
                  <a16:creationId xmlns:a16="http://schemas.microsoft.com/office/drawing/2014/main" id="{E0E3D134-EDDE-C309-761E-7A2931AE5650}"/>
                </a:ext>
              </a:extLst>
            </p:cNvPr>
            <p:cNvSpPr/>
            <p:nvPr/>
          </p:nvSpPr>
          <p:spPr>
            <a:xfrm>
              <a:off x="60489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34">
              <a:extLst>
                <a:ext uri="{FF2B5EF4-FFF2-40B4-BE49-F238E27FC236}">
                  <a16:creationId xmlns:a16="http://schemas.microsoft.com/office/drawing/2014/main" id="{6A47CC7F-4C9B-37F9-2F89-CCB0E67569F9}"/>
                </a:ext>
              </a:extLst>
            </p:cNvPr>
            <p:cNvSpPr/>
            <p:nvPr/>
          </p:nvSpPr>
          <p:spPr>
            <a:xfrm>
              <a:off x="1045792"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35">
              <a:extLst>
                <a:ext uri="{FF2B5EF4-FFF2-40B4-BE49-F238E27FC236}">
                  <a16:creationId xmlns:a16="http://schemas.microsoft.com/office/drawing/2014/main" id="{ACF1B38E-BE08-FFF5-436A-950B19B40061}"/>
                </a:ext>
              </a:extLst>
            </p:cNvPr>
            <p:cNvSpPr/>
            <p:nvPr/>
          </p:nvSpPr>
          <p:spPr>
            <a:xfrm>
              <a:off x="1486689"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36">
              <a:extLst>
                <a:ext uri="{FF2B5EF4-FFF2-40B4-BE49-F238E27FC236}">
                  <a16:creationId xmlns:a16="http://schemas.microsoft.com/office/drawing/2014/main" id="{ABFC80D3-D60A-0429-7B77-A24B5C3DFA51}"/>
                </a:ext>
              </a:extLst>
            </p:cNvPr>
            <p:cNvSpPr/>
            <p:nvPr/>
          </p:nvSpPr>
          <p:spPr>
            <a:xfrm>
              <a:off x="1927822" y="4447838"/>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39">
              <a:extLst>
                <a:ext uri="{FF2B5EF4-FFF2-40B4-BE49-F238E27FC236}">
                  <a16:creationId xmlns:a16="http://schemas.microsoft.com/office/drawing/2014/main" id="{E7099C2F-C30D-0008-8482-90E4D75B82B0}"/>
                </a:ext>
              </a:extLst>
            </p:cNvPr>
            <p:cNvSpPr/>
            <p:nvPr/>
          </p:nvSpPr>
          <p:spPr>
            <a:xfrm>
              <a:off x="2368484" y="4447839"/>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40">
              <a:extLst>
                <a:ext uri="{FF2B5EF4-FFF2-40B4-BE49-F238E27FC236}">
                  <a16:creationId xmlns:a16="http://schemas.microsoft.com/office/drawing/2014/main" id="{68B94521-C619-90B6-F6E8-DFDC6F0BF984}"/>
                </a:ext>
              </a:extLst>
            </p:cNvPr>
            <p:cNvSpPr/>
            <p:nvPr/>
          </p:nvSpPr>
          <p:spPr>
            <a:xfrm>
              <a:off x="60489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42">
              <a:extLst>
                <a:ext uri="{FF2B5EF4-FFF2-40B4-BE49-F238E27FC236}">
                  <a16:creationId xmlns:a16="http://schemas.microsoft.com/office/drawing/2014/main" id="{74DFA832-4B4A-BA2C-2D5C-9745C6C0B317}"/>
                </a:ext>
              </a:extLst>
            </p:cNvPr>
            <p:cNvSpPr/>
            <p:nvPr/>
          </p:nvSpPr>
          <p:spPr>
            <a:xfrm>
              <a:off x="1045792"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43">
              <a:extLst>
                <a:ext uri="{FF2B5EF4-FFF2-40B4-BE49-F238E27FC236}">
                  <a16:creationId xmlns:a16="http://schemas.microsoft.com/office/drawing/2014/main" id="{2DF856A0-94CB-B9FD-C649-F20AF5300CED}"/>
                </a:ext>
              </a:extLst>
            </p:cNvPr>
            <p:cNvSpPr/>
            <p:nvPr/>
          </p:nvSpPr>
          <p:spPr>
            <a:xfrm>
              <a:off x="1486689"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44">
              <a:extLst>
                <a:ext uri="{FF2B5EF4-FFF2-40B4-BE49-F238E27FC236}">
                  <a16:creationId xmlns:a16="http://schemas.microsoft.com/office/drawing/2014/main" id="{DE06AA07-F3BC-B873-A606-C2BD8A9F47AE}"/>
                </a:ext>
              </a:extLst>
            </p:cNvPr>
            <p:cNvSpPr/>
            <p:nvPr/>
          </p:nvSpPr>
          <p:spPr>
            <a:xfrm>
              <a:off x="1927822" y="4888972"/>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45">
              <a:extLst>
                <a:ext uri="{FF2B5EF4-FFF2-40B4-BE49-F238E27FC236}">
                  <a16:creationId xmlns:a16="http://schemas.microsoft.com/office/drawing/2014/main" id="{1456EC0B-C7F1-3E39-DA0A-FF7791984511}"/>
                </a:ext>
              </a:extLst>
            </p:cNvPr>
            <p:cNvSpPr/>
            <p:nvPr/>
          </p:nvSpPr>
          <p:spPr>
            <a:xfrm>
              <a:off x="2368484" y="4888973"/>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6"/>
                    <a:pt x="0" y="15240"/>
                  </a:cubicBezTo>
                  <a:cubicBezTo>
                    <a:pt x="0" y="6823"/>
                    <a:pt x="6823" y="0"/>
                    <a:pt x="15240" y="0"/>
                  </a:cubicBezTo>
                  <a:cubicBezTo>
                    <a:pt x="23657" y="0"/>
                    <a:pt x="30480" y="6823"/>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46">
              <a:extLst>
                <a:ext uri="{FF2B5EF4-FFF2-40B4-BE49-F238E27FC236}">
                  <a16:creationId xmlns:a16="http://schemas.microsoft.com/office/drawing/2014/main" id="{1B4DC2E8-3BE0-89E9-13BF-80A2FF208436}"/>
                </a:ext>
              </a:extLst>
            </p:cNvPr>
            <p:cNvSpPr/>
            <p:nvPr/>
          </p:nvSpPr>
          <p:spPr>
            <a:xfrm>
              <a:off x="60489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47">
              <a:extLst>
                <a:ext uri="{FF2B5EF4-FFF2-40B4-BE49-F238E27FC236}">
                  <a16:creationId xmlns:a16="http://schemas.microsoft.com/office/drawing/2014/main" id="{C15642AC-59F9-C462-7258-FB00902E3114}"/>
                </a:ext>
              </a:extLst>
            </p:cNvPr>
            <p:cNvSpPr/>
            <p:nvPr/>
          </p:nvSpPr>
          <p:spPr>
            <a:xfrm>
              <a:off x="1045792"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48">
              <a:extLst>
                <a:ext uri="{FF2B5EF4-FFF2-40B4-BE49-F238E27FC236}">
                  <a16:creationId xmlns:a16="http://schemas.microsoft.com/office/drawing/2014/main" id="{B21A83EB-4AA9-A21D-52D4-D024CCDB9964}"/>
                </a:ext>
              </a:extLst>
            </p:cNvPr>
            <p:cNvSpPr/>
            <p:nvPr/>
          </p:nvSpPr>
          <p:spPr>
            <a:xfrm>
              <a:off x="1486689"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49">
              <a:extLst>
                <a:ext uri="{FF2B5EF4-FFF2-40B4-BE49-F238E27FC236}">
                  <a16:creationId xmlns:a16="http://schemas.microsoft.com/office/drawing/2014/main" id="{176D7FDF-1F8E-DA92-6B2B-A040AA076321}"/>
                </a:ext>
              </a:extLst>
            </p:cNvPr>
            <p:cNvSpPr/>
            <p:nvPr/>
          </p:nvSpPr>
          <p:spPr>
            <a:xfrm>
              <a:off x="1927822" y="5329869"/>
              <a:ext cx="128328" cy="128328"/>
            </a:xfrm>
            <a:custGeom>
              <a:avLst/>
              <a:gdLst>
                <a:gd name="connsiteX0" fmla="*/ 30480 w 30480"/>
                <a:gd name="connsiteY0" fmla="*/ 15240 h 30480"/>
                <a:gd name="connsiteX1" fmla="*/ 15240 w 30480"/>
                <a:gd name="connsiteY1" fmla="*/ 30480 h 30480"/>
                <a:gd name="connsiteX2" fmla="*/ 0 w 30480"/>
                <a:gd name="connsiteY2" fmla="*/ 15240 h 30480"/>
                <a:gd name="connsiteX3" fmla="*/ 15240 w 30480"/>
                <a:gd name="connsiteY3" fmla="*/ 0 h 30480"/>
                <a:gd name="connsiteX4" fmla="*/ 30480 w 30480"/>
                <a:gd name="connsiteY4" fmla="*/ 15240 h 30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 h="30480">
                  <a:moveTo>
                    <a:pt x="30480" y="15240"/>
                  </a:moveTo>
                  <a:cubicBezTo>
                    <a:pt x="30480" y="23615"/>
                    <a:pt x="23615" y="30480"/>
                    <a:pt x="15240" y="30480"/>
                  </a:cubicBezTo>
                  <a:cubicBezTo>
                    <a:pt x="6865" y="30480"/>
                    <a:pt x="0" y="23615"/>
                    <a:pt x="0" y="15240"/>
                  </a:cubicBezTo>
                  <a:cubicBezTo>
                    <a:pt x="0" y="6865"/>
                    <a:pt x="6865" y="0"/>
                    <a:pt x="15240" y="0"/>
                  </a:cubicBezTo>
                  <a:cubicBezTo>
                    <a:pt x="23615" y="0"/>
                    <a:pt x="30480" y="6865"/>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50">
              <a:extLst>
                <a:ext uri="{FF2B5EF4-FFF2-40B4-BE49-F238E27FC236}">
                  <a16:creationId xmlns:a16="http://schemas.microsoft.com/office/drawing/2014/main" id="{2EEA353D-9DEE-DDFF-8CFD-DAE53A86B0DB}"/>
                </a:ext>
              </a:extLst>
            </p:cNvPr>
            <p:cNvSpPr/>
            <p:nvPr/>
          </p:nvSpPr>
          <p:spPr>
            <a:xfrm>
              <a:off x="2368484" y="5329870"/>
              <a:ext cx="128324" cy="128324"/>
            </a:xfrm>
            <a:custGeom>
              <a:avLst/>
              <a:gdLst>
                <a:gd name="connsiteX0" fmla="*/ 30480 w 30479"/>
                <a:gd name="connsiteY0" fmla="*/ 15240 h 30479"/>
                <a:gd name="connsiteX1" fmla="*/ 15240 w 30479"/>
                <a:gd name="connsiteY1" fmla="*/ 30480 h 30479"/>
                <a:gd name="connsiteX2" fmla="*/ 0 w 30479"/>
                <a:gd name="connsiteY2" fmla="*/ 15240 h 30479"/>
                <a:gd name="connsiteX3" fmla="*/ 15240 w 30479"/>
                <a:gd name="connsiteY3" fmla="*/ 0 h 30479"/>
                <a:gd name="connsiteX4" fmla="*/ 30480 w 30479"/>
                <a:gd name="connsiteY4" fmla="*/ 15240 h 30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30479">
                  <a:moveTo>
                    <a:pt x="30480" y="15240"/>
                  </a:moveTo>
                  <a:cubicBezTo>
                    <a:pt x="30480" y="23657"/>
                    <a:pt x="23657" y="30480"/>
                    <a:pt x="15240" y="30480"/>
                  </a:cubicBezTo>
                  <a:cubicBezTo>
                    <a:pt x="6823" y="30480"/>
                    <a:pt x="0" y="23657"/>
                    <a:pt x="0" y="15240"/>
                  </a:cubicBezTo>
                  <a:cubicBezTo>
                    <a:pt x="0" y="6823"/>
                    <a:pt x="6823" y="0"/>
                    <a:pt x="15240" y="0"/>
                  </a:cubicBezTo>
                  <a:cubicBezTo>
                    <a:pt x="23657" y="0"/>
                    <a:pt x="30480" y="6824"/>
                    <a:pt x="30480" y="15240"/>
                  </a:cubicBezTo>
                  <a:close/>
                </a:path>
              </a:pathLst>
            </a:custGeom>
            <a:solidFill>
              <a:schemeClr val="bg2"/>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Rectangle: Single Corner Rounded 28">
            <a:extLst>
              <a:ext uri="{FF2B5EF4-FFF2-40B4-BE49-F238E27FC236}">
                <a16:creationId xmlns:a16="http://schemas.microsoft.com/office/drawing/2014/main" id="{CD78616E-69AD-9AA7-2097-9EB3C37621F4}"/>
              </a:ext>
            </a:extLst>
          </p:cNvPr>
          <p:cNvSpPr/>
          <p:nvPr userDrawn="1"/>
        </p:nvSpPr>
        <p:spPr>
          <a:xfrm rot="10800000" flipH="1">
            <a:off x="6925823" y="-3435"/>
            <a:ext cx="4882152" cy="2318265"/>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Single Corner Rounded 29">
            <a:extLst>
              <a:ext uri="{FF2B5EF4-FFF2-40B4-BE49-F238E27FC236}">
                <a16:creationId xmlns:a16="http://schemas.microsoft.com/office/drawing/2014/main" id="{1089C2C6-EA1F-2659-9060-91E6A380A8AC}"/>
              </a:ext>
            </a:extLst>
          </p:cNvPr>
          <p:cNvSpPr/>
          <p:nvPr userDrawn="1"/>
        </p:nvSpPr>
        <p:spPr>
          <a:xfrm rot="10800000" flipH="1">
            <a:off x="1" y="1959429"/>
            <a:ext cx="293688" cy="3652320"/>
          </a:xfrm>
          <a:prstGeom prst="round1Rect">
            <a:avLst>
              <a:gd name="adj" fmla="val 50000"/>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2166305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ross Platform BDM + TDM Intro">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3027"/>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bg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64522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11" name="Rectangle 10">
            <a:extLst>
              <a:ext uri="{FF2B5EF4-FFF2-40B4-BE49-F238E27FC236}">
                <a16:creationId xmlns:a16="http://schemas.microsoft.com/office/drawing/2014/main" id="{350C324E-32D3-1C69-EF84-7E1FC6B3B503}"/>
              </a:ext>
            </a:extLst>
          </p:cNvPr>
          <p:cNvSpPr/>
          <p:nvPr userDrawn="1"/>
        </p:nvSpPr>
        <p:spPr>
          <a:xfrm rot="10800000" flipH="1">
            <a:off x="1" y="2182947"/>
            <a:ext cx="241159" cy="3052244"/>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772A3802-B85A-97B4-3A70-28B587C9F745}"/>
              </a:ext>
            </a:extLst>
          </p:cNvPr>
          <p:cNvSpPr/>
          <p:nvPr userDrawn="1"/>
        </p:nvSpPr>
        <p:spPr>
          <a:xfrm>
            <a:off x="7919518" y="1729547"/>
            <a:ext cx="5156975" cy="5134490"/>
          </a:xfrm>
          <a:custGeom>
            <a:avLst/>
            <a:gdLst>
              <a:gd name="connsiteX0" fmla="*/ 5156975 w 5156975"/>
              <a:gd name="connsiteY0" fmla="*/ 785571 h 5134490"/>
              <a:gd name="connsiteX1" fmla="*/ 5156975 w 5156975"/>
              <a:gd name="connsiteY1" fmla="*/ 5134491 h 5134490"/>
              <a:gd name="connsiteX2" fmla="*/ 763069 w 5156975"/>
              <a:gd name="connsiteY2" fmla="*/ 5134491 h 5134490"/>
              <a:gd name="connsiteX3" fmla="*/ 160654 w 5156975"/>
              <a:gd name="connsiteY3" fmla="*/ 4532074 h 5134490"/>
              <a:gd name="connsiteX4" fmla="*/ 160654 w 5156975"/>
              <a:gd name="connsiteY4" fmla="*/ 3756253 h 5134490"/>
              <a:gd name="connsiteX5" fmla="*/ 853071 w 5156975"/>
              <a:gd name="connsiteY5" fmla="*/ 3063984 h 5134490"/>
              <a:gd name="connsiteX6" fmla="*/ 3434334 w 5156975"/>
              <a:gd name="connsiteY6" fmla="*/ 482563 h 5134490"/>
              <a:gd name="connsiteX7" fmla="*/ 3756241 w 5156975"/>
              <a:gd name="connsiteY7" fmla="*/ 160654 h 5134490"/>
              <a:gd name="connsiteX8" fmla="*/ 4532061 w 5156975"/>
              <a:gd name="connsiteY8" fmla="*/ 160654 h 5134490"/>
              <a:gd name="connsiteX9" fmla="*/ 5156975 w 5156975"/>
              <a:gd name="connsiteY9" fmla="*/ 785571 h 513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6975" h="5134490">
                <a:moveTo>
                  <a:pt x="5156975" y="785571"/>
                </a:moveTo>
                <a:lnTo>
                  <a:pt x="5156975" y="5134491"/>
                </a:lnTo>
                <a:lnTo>
                  <a:pt x="763069" y="5134491"/>
                </a:lnTo>
                <a:lnTo>
                  <a:pt x="160654" y="4532074"/>
                </a:lnTo>
                <a:cubicBezTo>
                  <a:pt x="-53551" y="4317868"/>
                  <a:pt x="-53551" y="3970609"/>
                  <a:pt x="160654" y="3756253"/>
                </a:cubicBezTo>
                <a:lnTo>
                  <a:pt x="853071" y="3063984"/>
                </a:lnTo>
                <a:lnTo>
                  <a:pt x="3434334" y="482563"/>
                </a:lnTo>
                <a:lnTo>
                  <a:pt x="3756241" y="160654"/>
                </a:lnTo>
                <a:cubicBezTo>
                  <a:pt x="3970447" y="-53551"/>
                  <a:pt x="4317855" y="-53551"/>
                  <a:pt x="4532061" y="160654"/>
                </a:cubicBezTo>
                <a:lnTo>
                  <a:pt x="5156975" y="785571"/>
                </a:ln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8" name="Freeform: Shape 17">
            <a:extLst>
              <a:ext uri="{FF2B5EF4-FFF2-40B4-BE49-F238E27FC236}">
                <a16:creationId xmlns:a16="http://schemas.microsoft.com/office/drawing/2014/main" id="{A316D2AA-7880-089D-E2E0-EB59C8ABFDD8}"/>
              </a:ext>
            </a:extLst>
          </p:cNvPr>
          <p:cNvSpPr/>
          <p:nvPr userDrawn="1"/>
        </p:nvSpPr>
        <p:spPr>
          <a:xfrm>
            <a:off x="9141748" y="0"/>
            <a:ext cx="3934745" cy="2430216"/>
          </a:xfrm>
          <a:custGeom>
            <a:avLst/>
            <a:gdLst>
              <a:gd name="connsiteX0" fmla="*/ 3934746 w 3934745"/>
              <a:gd name="connsiteY0" fmla="*/ 0 h 2430216"/>
              <a:gd name="connsiteX1" fmla="*/ 3934746 w 3934745"/>
              <a:gd name="connsiteY1" fmla="*/ 1380188 h 2430216"/>
              <a:gd name="connsiteX2" fmla="*/ 3367282 w 3934745"/>
              <a:gd name="connsiteY2" fmla="*/ 1947653 h 2430216"/>
              <a:gd name="connsiteX3" fmla="*/ 3045375 w 3934745"/>
              <a:gd name="connsiteY3" fmla="*/ 2269562 h 2430216"/>
              <a:gd name="connsiteX4" fmla="*/ 2269555 w 3934745"/>
              <a:gd name="connsiteY4" fmla="*/ 2269562 h 2430216"/>
              <a:gd name="connsiteX5" fmla="*/ 0 w 3934745"/>
              <a:gd name="connsiteY5" fmla="*/ 0 h 2430216"/>
              <a:gd name="connsiteX6" fmla="*/ 3934746 w 3934745"/>
              <a:gd name="connsiteY6" fmla="*/ 0 h 243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745" h="2430216">
                <a:moveTo>
                  <a:pt x="3934746" y="0"/>
                </a:moveTo>
                <a:lnTo>
                  <a:pt x="3934746" y="1380188"/>
                </a:lnTo>
                <a:lnTo>
                  <a:pt x="3367282" y="1947653"/>
                </a:lnTo>
                <a:lnTo>
                  <a:pt x="3045375" y="2269562"/>
                </a:lnTo>
                <a:cubicBezTo>
                  <a:pt x="2831169" y="2483768"/>
                  <a:pt x="2483761" y="2483768"/>
                  <a:pt x="2269555" y="2269562"/>
                </a:cubicBezTo>
                <a:lnTo>
                  <a:pt x="0" y="0"/>
                </a:lnTo>
                <a:lnTo>
                  <a:pt x="3934746" y="0"/>
                </a:lnTo>
                <a:close/>
              </a:path>
            </a:pathLst>
          </a:custGeom>
          <a:gradFill flip="none" rotWithShape="1">
            <a:gsLst>
              <a:gs pos="0">
                <a:schemeClr val="bg2">
                  <a:lumMod val="60000"/>
                  <a:lumOff val="40000"/>
                </a:schemeClr>
              </a:gs>
              <a:gs pos="73000">
                <a:schemeClr val="bg2">
                  <a:lumMod val="75000"/>
                </a:schemeClr>
              </a:gs>
            </a:gsLst>
            <a:lin ang="7200000" scaled="0"/>
            <a:tileRect/>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9" name="Freeform: Shape 18">
            <a:extLst>
              <a:ext uri="{FF2B5EF4-FFF2-40B4-BE49-F238E27FC236}">
                <a16:creationId xmlns:a16="http://schemas.microsoft.com/office/drawing/2014/main" id="{C91AB830-0DD9-9E64-68E1-DAEA840A12C1}"/>
              </a:ext>
            </a:extLst>
          </p:cNvPr>
          <p:cNvSpPr/>
          <p:nvPr userDrawn="1"/>
        </p:nvSpPr>
        <p:spPr>
          <a:xfrm>
            <a:off x="5184576" y="0"/>
            <a:ext cx="2360607" cy="1442814"/>
          </a:xfrm>
          <a:custGeom>
            <a:avLst/>
            <a:gdLst>
              <a:gd name="connsiteX0" fmla="*/ 2254180 w 2360607"/>
              <a:gd name="connsiteY0" fmla="*/ 519614 h 1442814"/>
              <a:gd name="connsiteX1" fmla="*/ 1437410 w 2360607"/>
              <a:gd name="connsiteY1" fmla="*/ 1336387 h 1442814"/>
              <a:gd name="connsiteX2" fmla="*/ 923198 w 2360607"/>
              <a:gd name="connsiteY2" fmla="*/ 1336387 h 1442814"/>
              <a:gd name="connsiteX3" fmla="*/ 106428 w 2360607"/>
              <a:gd name="connsiteY3" fmla="*/ 519614 h 1442814"/>
              <a:gd name="connsiteX4" fmla="*/ 106428 w 2360607"/>
              <a:gd name="connsiteY4" fmla="*/ 5550 h 1442814"/>
              <a:gd name="connsiteX5" fmla="*/ 111978 w 2360607"/>
              <a:gd name="connsiteY5" fmla="*/ 0 h 1442814"/>
              <a:gd name="connsiteX6" fmla="*/ 2248630 w 2360607"/>
              <a:gd name="connsiteY6" fmla="*/ 0 h 1442814"/>
              <a:gd name="connsiteX7" fmla="*/ 2254180 w 2360607"/>
              <a:gd name="connsiteY7" fmla="*/ 5550 h 1442814"/>
              <a:gd name="connsiteX8" fmla="*/ 2254180 w 2360607"/>
              <a:gd name="connsiteY8" fmla="*/ 519614 h 144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0607" h="1442814">
                <a:moveTo>
                  <a:pt x="2254180" y="519614"/>
                </a:moveTo>
                <a:lnTo>
                  <a:pt x="1437410" y="1336387"/>
                </a:lnTo>
                <a:cubicBezTo>
                  <a:pt x="1295357" y="1478291"/>
                  <a:pt x="1065251" y="1478291"/>
                  <a:pt x="923198" y="1336387"/>
                </a:cubicBezTo>
                <a:lnTo>
                  <a:pt x="106428" y="519614"/>
                </a:lnTo>
                <a:cubicBezTo>
                  <a:pt x="-35476" y="377560"/>
                  <a:pt x="-35476" y="147454"/>
                  <a:pt x="106428" y="5550"/>
                </a:cubicBezTo>
                <a:lnTo>
                  <a:pt x="111978" y="0"/>
                </a:lnTo>
                <a:lnTo>
                  <a:pt x="2248630" y="0"/>
                </a:lnTo>
                <a:lnTo>
                  <a:pt x="2254180" y="5550"/>
                </a:lnTo>
                <a:cubicBezTo>
                  <a:pt x="2396083" y="147454"/>
                  <a:pt x="2396083" y="377560"/>
                  <a:pt x="2254180" y="519614"/>
                </a:cubicBez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C372781-F25F-7ECB-32AB-CCFFB3DB9D3C}"/>
              </a:ext>
            </a:extLst>
          </p:cNvPr>
          <p:cNvSpPr/>
          <p:nvPr userDrawn="1"/>
        </p:nvSpPr>
        <p:spPr>
          <a:xfrm rot="2700000">
            <a:off x="6791395" y="1394362"/>
            <a:ext cx="2688966" cy="2688974"/>
          </a:xfrm>
          <a:custGeom>
            <a:avLst/>
            <a:gdLst>
              <a:gd name="connsiteX0" fmla="*/ 2214955 w 2688966"/>
              <a:gd name="connsiteY0" fmla="*/ 0 h 2688974"/>
              <a:gd name="connsiteX1" fmla="*/ 2688966 w 2688966"/>
              <a:gd name="connsiteY1" fmla="*/ 474013 h 2688974"/>
              <a:gd name="connsiteX2" fmla="*/ 2688966 w 2688966"/>
              <a:gd name="connsiteY2" fmla="*/ 2214961 h 2688974"/>
              <a:gd name="connsiteX3" fmla="*/ 2214955 w 2688966"/>
              <a:gd name="connsiteY3" fmla="*/ 2688975 h 2688974"/>
              <a:gd name="connsiteX4" fmla="*/ 474012 w 2688966"/>
              <a:gd name="connsiteY4" fmla="*/ 2688975 h 2688974"/>
              <a:gd name="connsiteX5" fmla="*/ 0 w 2688966"/>
              <a:gd name="connsiteY5" fmla="*/ 2214961 h 2688974"/>
              <a:gd name="connsiteX6" fmla="*/ 0 w 2688966"/>
              <a:gd name="connsiteY6" fmla="*/ 474013 h 2688974"/>
              <a:gd name="connsiteX7" fmla="*/ 474012 w 2688966"/>
              <a:gd name="connsiteY7" fmla="*/ 0 h 268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8966" h="2688974">
                <a:moveTo>
                  <a:pt x="2214955" y="0"/>
                </a:moveTo>
                <a:cubicBezTo>
                  <a:pt x="2476744" y="0"/>
                  <a:pt x="2688966" y="212223"/>
                  <a:pt x="2688966" y="474013"/>
                </a:cubicBezTo>
                <a:lnTo>
                  <a:pt x="2688966" y="2214961"/>
                </a:lnTo>
                <a:cubicBezTo>
                  <a:pt x="2688966" y="2476752"/>
                  <a:pt x="2476744" y="2688975"/>
                  <a:pt x="2214955" y="2688975"/>
                </a:cubicBezTo>
                <a:lnTo>
                  <a:pt x="474012" y="2688975"/>
                </a:lnTo>
                <a:cubicBezTo>
                  <a:pt x="212222" y="2688975"/>
                  <a:pt x="0" y="2476752"/>
                  <a:pt x="0" y="2214961"/>
                </a:cubicBezTo>
                <a:lnTo>
                  <a:pt x="0" y="474013"/>
                </a:lnTo>
                <a:cubicBezTo>
                  <a:pt x="0" y="212223"/>
                  <a:pt x="212222" y="0"/>
                  <a:pt x="474012" y="0"/>
                </a:cubicBez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1" name="Freeform: Shape 20">
            <a:extLst>
              <a:ext uri="{FF2B5EF4-FFF2-40B4-BE49-F238E27FC236}">
                <a16:creationId xmlns:a16="http://schemas.microsoft.com/office/drawing/2014/main" id="{38D21CF1-C34B-AC32-0489-E35EA258E62E}"/>
              </a:ext>
            </a:extLst>
          </p:cNvPr>
          <p:cNvSpPr/>
          <p:nvPr userDrawn="1"/>
        </p:nvSpPr>
        <p:spPr>
          <a:xfrm>
            <a:off x="7558759" y="0"/>
            <a:ext cx="5517734" cy="6864037"/>
          </a:xfrm>
          <a:custGeom>
            <a:avLst/>
            <a:gdLst>
              <a:gd name="connsiteX0" fmla="*/ 5517734 w 5517734"/>
              <a:gd name="connsiteY0" fmla="*/ 774771 h 6864037"/>
              <a:gd name="connsiteX1" fmla="*/ 5517734 w 5517734"/>
              <a:gd name="connsiteY1" fmla="*/ 5930262 h 6864037"/>
              <a:gd name="connsiteX2" fmla="*/ 4583962 w 5517734"/>
              <a:gd name="connsiteY2" fmla="*/ 6864038 h 6864037"/>
              <a:gd name="connsiteX3" fmla="*/ 3284330 w 5517734"/>
              <a:gd name="connsiteY3" fmla="*/ 6864038 h 6864037"/>
              <a:gd name="connsiteX4" fmla="*/ 160654 w 5517734"/>
              <a:gd name="connsiteY4" fmla="*/ 3740353 h 6864037"/>
              <a:gd name="connsiteX5" fmla="*/ 160654 w 5517734"/>
              <a:gd name="connsiteY5" fmla="*/ 2964681 h 6864037"/>
              <a:gd name="connsiteX6" fmla="*/ 1348233 w 5517734"/>
              <a:gd name="connsiteY6" fmla="*/ 1777249 h 6864037"/>
              <a:gd name="connsiteX7" fmla="*/ 2354157 w 5517734"/>
              <a:gd name="connsiteY7" fmla="*/ 771171 h 6864037"/>
              <a:gd name="connsiteX8" fmla="*/ 3125326 w 5517734"/>
              <a:gd name="connsiteY8" fmla="*/ 0 h 6864037"/>
              <a:gd name="connsiteX9" fmla="*/ 4742965 w 5517734"/>
              <a:gd name="connsiteY9" fmla="*/ 0 h 6864037"/>
              <a:gd name="connsiteX10" fmla="*/ 5517734 w 5517734"/>
              <a:gd name="connsiteY10" fmla="*/ 774771 h 686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17734" h="6864037">
                <a:moveTo>
                  <a:pt x="5517734" y="774771"/>
                </a:moveTo>
                <a:lnTo>
                  <a:pt x="5517734" y="5930262"/>
                </a:lnTo>
                <a:lnTo>
                  <a:pt x="4583962" y="6864038"/>
                </a:lnTo>
                <a:lnTo>
                  <a:pt x="3284330" y="6864038"/>
                </a:lnTo>
                <a:lnTo>
                  <a:pt x="160654" y="3740353"/>
                </a:lnTo>
                <a:cubicBezTo>
                  <a:pt x="-53551" y="3526147"/>
                  <a:pt x="-53551" y="3178887"/>
                  <a:pt x="160654" y="2964681"/>
                </a:cubicBezTo>
                <a:lnTo>
                  <a:pt x="1348233" y="1777249"/>
                </a:lnTo>
                <a:lnTo>
                  <a:pt x="2354157" y="771171"/>
                </a:lnTo>
                <a:lnTo>
                  <a:pt x="3125326" y="0"/>
                </a:lnTo>
                <a:lnTo>
                  <a:pt x="4742965" y="0"/>
                </a:lnTo>
                <a:lnTo>
                  <a:pt x="5517734" y="774771"/>
                </a:lnTo>
                <a:close/>
              </a:path>
            </a:pathLst>
          </a:custGeom>
          <a:solidFill>
            <a:schemeClr val="bg2">
              <a:lumMod val="75000"/>
              <a:alpha val="77000"/>
            </a:schemeClr>
          </a:solidFill>
          <a:ln w="13581"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EA47473F-CD05-86EC-6AD3-C621C78751AB}"/>
              </a:ext>
            </a:extLst>
          </p:cNvPr>
          <p:cNvSpPr/>
          <p:nvPr userDrawn="1"/>
        </p:nvSpPr>
        <p:spPr>
          <a:xfrm>
            <a:off x="6284703" y="0"/>
            <a:ext cx="2859782" cy="2035743"/>
          </a:xfrm>
          <a:custGeom>
            <a:avLst/>
            <a:gdLst>
              <a:gd name="connsiteX0" fmla="*/ 2753242 w 2859782"/>
              <a:gd name="connsiteY0" fmla="*/ 862824 h 2035743"/>
              <a:gd name="connsiteX1" fmla="*/ 2230629 w 2859782"/>
              <a:gd name="connsiteY1" fmla="*/ 1385588 h 2035743"/>
              <a:gd name="connsiteX2" fmla="*/ 1686866 w 2859782"/>
              <a:gd name="connsiteY2" fmla="*/ 1929203 h 2035743"/>
              <a:gd name="connsiteX3" fmla="*/ 1172804 w 2859782"/>
              <a:gd name="connsiteY3" fmla="*/ 1929203 h 2035743"/>
              <a:gd name="connsiteX4" fmla="*/ 881947 w 2859782"/>
              <a:gd name="connsiteY4" fmla="*/ 1638345 h 2035743"/>
              <a:gd name="connsiteX5" fmla="*/ 458636 w 2859782"/>
              <a:gd name="connsiteY5" fmla="*/ 1215033 h 2035743"/>
              <a:gd name="connsiteX6" fmla="*/ 106428 w 2859782"/>
              <a:gd name="connsiteY6" fmla="*/ 862824 h 2035743"/>
              <a:gd name="connsiteX7" fmla="*/ 106428 w 2859782"/>
              <a:gd name="connsiteY7" fmla="*/ 348760 h 2035743"/>
              <a:gd name="connsiteX8" fmla="*/ 455186 w 2859782"/>
              <a:gd name="connsiteY8" fmla="*/ 0 h 2035743"/>
              <a:gd name="connsiteX9" fmla="*/ 2404484 w 2859782"/>
              <a:gd name="connsiteY9" fmla="*/ 0 h 2035743"/>
              <a:gd name="connsiteX10" fmla="*/ 2753242 w 2859782"/>
              <a:gd name="connsiteY10" fmla="*/ 348760 h 2035743"/>
              <a:gd name="connsiteX11" fmla="*/ 2753242 w 2859782"/>
              <a:gd name="connsiteY11" fmla="*/ 862824 h 20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9782" h="2035743">
                <a:moveTo>
                  <a:pt x="2753242" y="862824"/>
                </a:moveTo>
                <a:lnTo>
                  <a:pt x="2230629" y="1385588"/>
                </a:lnTo>
                <a:lnTo>
                  <a:pt x="1686866" y="1929203"/>
                </a:lnTo>
                <a:cubicBezTo>
                  <a:pt x="1544963" y="2071257"/>
                  <a:pt x="1314857" y="2071257"/>
                  <a:pt x="1172804" y="1929203"/>
                </a:cubicBezTo>
                <a:lnTo>
                  <a:pt x="881947" y="1638345"/>
                </a:lnTo>
                <a:lnTo>
                  <a:pt x="458636" y="1215033"/>
                </a:lnTo>
                <a:lnTo>
                  <a:pt x="106428" y="862824"/>
                </a:lnTo>
                <a:cubicBezTo>
                  <a:pt x="-35476" y="720920"/>
                  <a:pt x="-35476" y="490663"/>
                  <a:pt x="106428" y="348760"/>
                </a:cubicBezTo>
                <a:lnTo>
                  <a:pt x="455186" y="0"/>
                </a:lnTo>
                <a:lnTo>
                  <a:pt x="2404484" y="0"/>
                </a:lnTo>
                <a:lnTo>
                  <a:pt x="2753242" y="348760"/>
                </a:lnTo>
                <a:cubicBezTo>
                  <a:pt x="2895295" y="490663"/>
                  <a:pt x="2895295" y="720920"/>
                  <a:pt x="2753242" y="862824"/>
                </a:cubicBezTo>
                <a:close/>
              </a:path>
            </a:pathLst>
          </a:custGeom>
          <a:gradFill>
            <a:gsLst>
              <a:gs pos="0">
                <a:schemeClr val="accent2"/>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000000"/>
              </a:solidFill>
              <a:effectLst/>
              <a:uLnTx/>
              <a:uFillTx/>
              <a:latin typeface="Segoe UI"/>
            </a:endParaRPr>
          </a:p>
        </p:txBody>
      </p:sp>
      <p:sp>
        <p:nvSpPr>
          <p:cNvPr id="23" name="Freeform: Shape 22">
            <a:extLst>
              <a:ext uri="{FF2B5EF4-FFF2-40B4-BE49-F238E27FC236}">
                <a16:creationId xmlns:a16="http://schemas.microsoft.com/office/drawing/2014/main" id="{CDF2C4CA-58D7-8A58-3A90-D911CB08229D}"/>
              </a:ext>
            </a:extLst>
          </p:cNvPr>
          <p:cNvSpPr/>
          <p:nvPr userDrawn="1"/>
        </p:nvSpPr>
        <p:spPr>
          <a:xfrm>
            <a:off x="5733027" y="5296795"/>
            <a:ext cx="2049387" cy="1567242"/>
          </a:xfrm>
          <a:custGeom>
            <a:avLst/>
            <a:gdLst>
              <a:gd name="connsiteX0" fmla="*/ 1956235 w 2049387"/>
              <a:gd name="connsiteY0" fmla="*/ 1249384 h 1567242"/>
              <a:gd name="connsiteX1" fmla="*/ 1638377 w 2049387"/>
              <a:gd name="connsiteY1" fmla="*/ 1567243 h 1567242"/>
              <a:gd name="connsiteX2" fmla="*/ 410898 w 2049387"/>
              <a:gd name="connsiteY2" fmla="*/ 1567243 h 1567242"/>
              <a:gd name="connsiteX3" fmla="*/ 93040 w 2049387"/>
              <a:gd name="connsiteY3" fmla="*/ 1249384 h 1567242"/>
              <a:gd name="connsiteX4" fmla="*/ 93040 w 2049387"/>
              <a:gd name="connsiteY4" fmla="*/ 799972 h 1567242"/>
              <a:gd name="connsiteX5" fmla="*/ 799857 w 2049387"/>
              <a:gd name="connsiteY5" fmla="*/ 93153 h 1567242"/>
              <a:gd name="connsiteX6" fmla="*/ 1249418 w 2049387"/>
              <a:gd name="connsiteY6" fmla="*/ 93153 h 1567242"/>
              <a:gd name="connsiteX7" fmla="*/ 1956235 w 2049387"/>
              <a:gd name="connsiteY7" fmla="*/ 799972 h 1567242"/>
              <a:gd name="connsiteX8" fmla="*/ 1956235 w 2049387"/>
              <a:gd name="connsiteY8" fmla="*/ 1249384 h 156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9387" h="1567242">
                <a:moveTo>
                  <a:pt x="1956235" y="1249384"/>
                </a:moveTo>
                <a:lnTo>
                  <a:pt x="1638377" y="1567243"/>
                </a:lnTo>
                <a:lnTo>
                  <a:pt x="410898" y="1567243"/>
                </a:lnTo>
                <a:lnTo>
                  <a:pt x="93040" y="1249384"/>
                </a:lnTo>
                <a:cubicBezTo>
                  <a:pt x="-31013" y="1125331"/>
                  <a:pt x="-31013" y="924025"/>
                  <a:pt x="93040" y="799972"/>
                </a:cubicBezTo>
                <a:lnTo>
                  <a:pt x="799857" y="93153"/>
                </a:lnTo>
                <a:cubicBezTo>
                  <a:pt x="924060" y="-31051"/>
                  <a:pt x="1125215" y="-31051"/>
                  <a:pt x="1249418" y="93153"/>
                </a:cubicBezTo>
                <a:lnTo>
                  <a:pt x="1956235" y="799972"/>
                </a:lnTo>
                <a:cubicBezTo>
                  <a:pt x="2080438" y="924025"/>
                  <a:pt x="2080438" y="1125331"/>
                  <a:pt x="1956235" y="1249384"/>
                </a:cubicBez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000000"/>
              </a:solidFill>
              <a:effectLst/>
              <a:uLnTx/>
              <a:uFillTx/>
              <a:latin typeface="Segoe UI"/>
            </a:endParaRPr>
          </a:p>
        </p:txBody>
      </p:sp>
      <p:sp>
        <p:nvSpPr>
          <p:cNvPr id="24" name="Freeform: Shape 23">
            <a:extLst>
              <a:ext uri="{FF2B5EF4-FFF2-40B4-BE49-F238E27FC236}">
                <a16:creationId xmlns:a16="http://schemas.microsoft.com/office/drawing/2014/main" id="{D6064D69-EC27-B88A-285A-B7FCA5547F8F}"/>
              </a:ext>
            </a:extLst>
          </p:cNvPr>
          <p:cNvSpPr/>
          <p:nvPr userDrawn="1"/>
        </p:nvSpPr>
        <p:spPr>
          <a:xfrm>
            <a:off x="3673215" y="0"/>
            <a:ext cx="1509186" cy="604104"/>
          </a:xfrm>
          <a:custGeom>
            <a:avLst/>
            <a:gdLst>
              <a:gd name="connsiteX0" fmla="*/ 1509187 w 1509186"/>
              <a:gd name="connsiteY0" fmla="*/ 0 h 604104"/>
              <a:gd name="connsiteX1" fmla="*/ 1011625 w 1509186"/>
              <a:gd name="connsiteY1" fmla="*/ 497564 h 604104"/>
              <a:gd name="connsiteX2" fmla="*/ 497562 w 1509186"/>
              <a:gd name="connsiteY2" fmla="*/ 497564 h 604104"/>
              <a:gd name="connsiteX3" fmla="*/ 0 w 1509186"/>
              <a:gd name="connsiteY3" fmla="*/ 0 h 604104"/>
              <a:gd name="connsiteX4" fmla="*/ 1509187 w 1509186"/>
              <a:gd name="connsiteY4" fmla="*/ 0 h 604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186" h="604104">
                <a:moveTo>
                  <a:pt x="1509187" y="0"/>
                </a:moveTo>
                <a:lnTo>
                  <a:pt x="1011625" y="497564"/>
                </a:lnTo>
                <a:cubicBezTo>
                  <a:pt x="869721" y="639618"/>
                  <a:pt x="639466" y="639618"/>
                  <a:pt x="497562" y="497564"/>
                </a:cubicBezTo>
                <a:lnTo>
                  <a:pt x="0" y="0"/>
                </a:lnTo>
                <a:lnTo>
                  <a:pt x="1509187" y="0"/>
                </a:lnTo>
                <a:close/>
              </a:path>
            </a:pathLst>
          </a:custGeom>
          <a:gradFill>
            <a:gsLst>
              <a:gs pos="0">
                <a:schemeClr val="accent2">
                  <a:alpha val="17000"/>
                </a:schemeClr>
              </a:gs>
              <a:gs pos="100000">
                <a:schemeClr val="bg2"/>
              </a:gs>
            </a:gsLst>
            <a:lin ang="5400000" scaled="1"/>
          </a:gradFill>
          <a:ln w="1301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000000"/>
              </a:solidFill>
              <a:effectLst/>
              <a:uLnTx/>
              <a:uFillTx/>
              <a:latin typeface="Segoe UI"/>
            </a:endParaRPr>
          </a:p>
        </p:txBody>
      </p:sp>
    </p:spTree>
    <p:extLst>
      <p:ext uri="{BB962C8B-B14F-4D97-AF65-F5344CB8AC3E}">
        <p14:creationId xmlns:p14="http://schemas.microsoft.com/office/powerpoint/2010/main" val="585345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bg1"/>
        </a:solidFill>
        <a:effectLst/>
      </p:bgPr>
    </p:bg>
    <p:spTree>
      <p:nvGrpSpPr>
        <p:cNvPr id="1" name=""/>
        <p:cNvGrpSpPr/>
        <p:nvPr/>
      </p:nvGrpSpPr>
      <p:grpSpPr>
        <a:xfrm>
          <a:off x="0" y="0"/>
          <a:ext cx="0" cy="0"/>
          <a:chOff x="0" y="0"/>
          <a:chExt cx="0" cy="0"/>
        </a:xfrm>
      </p:grpSpPr>
      <p:sp>
        <p:nvSpPr>
          <p:cNvPr id="35" name="Freeform: Shape 7">
            <a:extLst>
              <a:ext uri="{FF2B5EF4-FFF2-40B4-BE49-F238E27FC236}">
                <a16:creationId xmlns:a16="http://schemas.microsoft.com/office/drawing/2014/main" id="{88D7459A-787E-7208-CE84-4169E8DAAF16}"/>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C6EEFF52-3FE4-7FB1-488F-DDEC308643F7}"/>
              </a:ext>
            </a:extLst>
          </p:cNvPr>
          <p:cNvSpPr/>
          <p:nvPr userDrawn="1"/>
        </p:nvSpPr>
        <p:spPr>
          <a:xfrm rot="10800000" flipH="1">
            <a:off x="1" y="1959429"/>
            <a:ext cx="293688" cy="3547068"/>
          </a:xfrm>
          <a:prstGeom prst="rect">
            <a:avLst/>
          </a:prstGeom>
          <a:solidFill>
            <a:schemeClr val="bg2"/>
          </a:solidFill>
          <a:ln w="13730" cap="flat">
            <a:noFill/>
            <a:prstDash val="solid"/>
            <a:miter/>
          </a:ln>
          <a:effectLst>
            <a:outerShdw blurRad="495300" dist="38100" dir="2700000" algn="tl" rotWithShape="0">
              <a:schemeClr val="tx2">
                <a:lumMod val="50000"/>
                <a:alpha val="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
        <p:nvSpPr>
          <p:cNvPr id="2" name="Freeform: Shape 1">
            <a:extLst>
              <a:ext uri="{FF2B5EF4-FFF2-40B4-BE49-F238E27FC236}">
                <a16:creationId xmlns:a16="http://schemas.microsoft.com/office/drawing/2014/main" id="{15E02A78-55D0-CB64-8546-654C8EE4A079}"/>
              </a:ext>
            </a:extLst>
          </p:cNvPr>
          <p:cNvSpPr/>
          <p:nvPr userDrawn="1"/>
        </p:nvSpPr>
        <p:spPr>
          <a:xfrm>
            <a:off x="7919518" y="1729547"/>
            <a:ext cx="5156975" cy="5134490"/>
          </a:xfrm>
          <a:custGeom>
            <a:avLst/>
            <a:gdLst>
              <a:gd name="connsiteX0" fmla="*/ 5156975 w 5156975"/>
              <a:gd name="connsiteY0" fmla="*/ 785571 h 5134490"/>
              <a:gd name="connsiteX1" fmla="*/ 5156975 w 5156975"/>
              <a:gd name="connsiteY1" fmla="*/ 5134491 h 5134490"/>
              <a:gd name="connsiteX2" fmla="*/ 763069 w 5156975"/>
              <a:gd name="connsiteY2" fmla="*/ 5134491 h 5134490"/>
              <a:gd name="connsiteX3" fmla="*/ 160654 w 5156975"/>
              <a:gd name="connsiteY3" fmla="*/ 4532074 h 5134490"/>
              <a:gd name="connsiteX4" fmla="*/ 160654 w 5156975"/>
              <a:gd name="connsiteY4" fmla="*/ 3756253 h 5134490"/>
              <a:gd name="connsiteX5" fmla="*/ 853071 w 5156975"/>
              <a:gd name="connsiteY5" fmla="*/ 3063984 h 5134490"/>
              <a:gd name="connsiteX6" fmla="*/ 3434334 w 5156975"/>
              <a:gd name="connsiteY6" fmla="*/ 482563 h 5134490"/>
              <a:gd name="connsiteX7" fmla="*/ 3756241 w 5156975"/>
              <a:gd name="connsiteY7" fmla="*/ 160654 h 5134490"/>
              <a:gd name="connsiteX8" fmla="*/ 4532061 w 5156975"/>
              <a:gd name="connsiteY8" fmla="*/ 160654 h 5134490"/>
              <a:gd name="connsiteX9" fmla="*/ 5156975 w 5156975"/>
              <a:gd name="connsiteY9" fmla="*/ 785571 h 513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6975" h="5134490">
                <a:moveTo>
                  <a:pt x="5156975" y="785571"/>
                </a:moveTo>
                <a:lnTo>
                  <a:pt x="5156975" y="5134491"/>
                </a:lnTo>
                <a:lnTo>
                  <a:pt x="763069" y="5134491"/>
                </a:lnTo>
                <a:lnTo>
                  <a:pt x="160654" y="4532074"/>
                </a:lnTo>
                <a:cubicBezTo>
                  <a:pt x="-53551" y="4317868"/>
                  <a:pt x="-53551" y="3970609"/>
                  <a:pt x="160654" y="3756253"/>
                </a:cubicBezTo>
                <a:lnTo>
                  <a:pt x="853071" y="3063984"/>
                </a:lnTo>
                <a:lnTo>
                  <a:pt x="3434334" y="482563"/>
                </a:lnTo>
                <a:lnTo>
                  <a:pt x="3756241" y="160654"/>
                </a:lnTo>
                <a:cubicBezTo>
                  <a:pt x="3970447" y="-53551"/>
                  <a:pt x="4317855" y="-53551"/>
                  <a:pt x="4532061" y="160654"/>
                </a:cubicBezTo>
                <a:lnTo>
                  <a:pt x="5156975" y="785571"/>
                </a:ln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 name="Freeform: Shape 2">
            <a:extLst>
              <a:ext uri="{FF2B5EF4-FFF2-40B4-BE49-F238E27FC236}">
                <a16:creationId xmlns:a16="http://schemas.microsoft.com/office/drawing/2014/main" id="{CA759573-B86F-3039-0A6B-78DB89BED267}"/>
              </a:ext>
            </a:extLst>
          </p:cNvPr>
          <p:cNvSpPr/>
          <p:nvPr userDrawn="1"/>
        </p:nvSpPr>
        <p:spPr>
          <a:xfrm>
            <a:off x="9141748" y="0"/>
            <a:ext cx="3934745" cy="2430216"/>
          </a:xfrm>
          <a:custGeom>
            <a:avLst/>
            <a:gdLst>
              <a:gd name="connsiteX0" fmla="*/ 3934746 w 3934745"/>
              <a:gd name="connsiteY0" fmla="*/ 0 h 2430216"/>
              <a:gd name="connsiteX1" fmla="*/ 3934746 w 3934745"/>
              <a:gd name="connsiteY1" fmla="*/ 1380188 h 2430216"/>
              <a:gd name="connsiteX2" fmla="*/ 3367282 w 3934745"/>
              <a:gd name="connsiteY2" fmla="*/ 1947653 h 2430216"/>
              <a:gd name="connsiteX3" fmla="*/ 3045375 w 3934745"/>
              <a:gd name="connsiteY3" fmla="*/ 2269562 h 2430216"/>
              <a:gd name="connsiteX4" fmla="*/ 2269555 w 3934745"/>
              <a:gd name="connsiteY4" fmla="*/ 2269562 h 2430216"/>
              <a:gd name="connsiteX5" fmla="*/ 0 w 3934745"/>
              <a:gd name="connsiteY5" fmla="*/ 0 h 2430216"/>
              <a:gd name="connsiteX6" fmla="*/ 3934746 w 3934745"/>
              <a:gd name="connsiteY6" fmla="*/ 0 h 243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745" h="2430216">
                <a:moveTo>
                  <a:pt x="3934746" y="0"/>
                </a:moveTo>
                <a:lnTo>
                  <a:pt x="3934746" y="1380188"/>
                </a:lnTo>
                <a:lnTo>
                  <a:pt x="3367282" y="1947653"/>
                </a:lnTo>
                <a:lnTo>
                  <a:pt x="3045375" y="2269562"/>
                </a:lnTo>
                <a:cubicBezTo>
                  <a:pt x="2831169" y="2483768"/>
                  <a:pt x="2483761" y="2483768"/>
                  <a:pt x="2269555" y="2269562"/>
                </a:cubicBezTo>
                <a:lnTo>
                  <a:pt x="0" y="0"/>
                </a:lnTo>
                <a:lnTo>
                  <a:pt x="3934746" y="0"/>
                </a:lnTo>
                <a:close/>
              </a:path>
            </a:pathLst>
          </a:custGeom>
          <a:gradFill flip="none" rotWithShape="1">
            <a:gsLst>
              <a:gs pos="0">
                <a:schemeClr val="bg2">
                  <a:lumMod val="60000"/>
                  <a:lumOff val="40000"/>
                </a:schemeClr>
              </a:gs>
              <a:gs pos="73000">
                <a:schemeClr val="bg2">
                  <a:lumMod val="75000"/>
                </a:schemeClr>
              </a:gs>
            </a:gsLst>
            <a:lin ang="7200000" scaled="0"/>
            <a:tileRect/>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 name="Freeform: Shape 3">
            <a:extLst>
              <a:ext uri="{FF2B5EF4-FFF2-40B4-BE49-F238E27FC236}">
                <a16:creationId xmlns:a16="http://schemas.microsoft.com/office/drawing/2014/main" id="{6C15CE6E-560A-668E-FE83-63098BEC337E}"/>
              </a:ext>
            </a:extLst>
          </p:cNvPr>
          <p:cNvSpPr/>
          <p:nvPr userDrawn="1"/>
        </p:nvSpPr>
        <p:spPr>
          <a:xfrm>
            <a:off x="5184576" y="0"/>
            <a:ext cx="2360607" cy="1442814"/>
          </a:xfrm>
          <a:custGeom>
            <a:avLst/>
            <a:gdLst>
              <a:gd name="connsiteX0" fmla="*/ 2254180 w 2360607"/>
              <a:gd name="connsiteY0" fmla="*/ 519614 h 1442814"/>
              <a:gd name="connsiteX1" fmla="*/ 1437410 w 2360607"/>
              <a:gd name="connsiteY1" fmla="*/ 1336387 h 1442814"/>
              <a:gd name="connsiteX2" fmla="*/ 923198 w 2360607"/>
              <a:gd name="connsiteY2" fmla="*/ 1336387 h 1442814"/>
              <a:gd name="connsiteX3" fmla="*/ 106428 w 2360607"/>
              <a:gd name="connsiteY3" fmla="*/ 519614 h 1442814"/>
              <a:gd name="connsiteX4" fmla="*/ 106428 w 2360607"/>
              <a:gd name="connsiteY4" fmla="*/ 5550 h 1442814"/>
              <a:gd name="connsiteX5" fmla="*/ 111978 w 2360607"/>
              <a:gd name="connsiteY5" fmla="*/ 0 h 1442814"/>
              <a:gd name="connsiteX6" fmla="*/ 2248630 w 2360607"/>
              <a:gd name="connsiteY6" fmla="*/ 0 h 1442814"/>
              <a:gd name="connsiteX7" fmla="*/ 2254180 w 2360607"/>
              <a:gd name="connsiteY7" fmla="*/ 5550 h 1442814"/>
              <a:gd name="connsiteX8" fmla="*/ 2254180 w 2360607"/>
              <a:gd name="connsiteY8" fmla="*/ 519614 h 144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0607" h="1442814">
                <a:moveTo>
                  <a:pt x="2254180" y="519614"/>
                </a:moveTo>
                <a:lnTo>
                  <a:pt x="1437410" y="1336387"/>
                </a:lnTo>
                <a:cubicBezTo>
                  <a:pt x="1295357" y="1478291"/>
                  <a:pt x="1065251" y="1478291"/>
                  <a:pt x="923198" y="1336387"/>
                </a:cubicBezTo>
                <a:lnTo>
                  <a:pt x="106428" y="519614"/>
                </a:lnTo>
                <a:cubicBezTo>
                  <a:pt x="-35476" y="377560"/>
                  <a:pt x="-35476" y="147454"/>
                  <a:pt x="106428" y="5550"/>
                </a:cubicBezTo>
                <a:lnTo>
                  <a:pt x="111978" y="0"/>
                </a:lnTo>
                <a:lnTo>
                  <a:pt x="2248630" y="0"/>
                </a:lnTo>
                <a:lnTo>
                  <a:pt x="2254180" y="5550"/>
                </a:lnTo>
                <a:cubicBezTo>
                  <a:pt x="2396083" y="147454"/>
                  <a:pt x="2396083" y="377560"/>
                  <a:pt x="2254180" y="519614"/>
                </a:cubicBez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862E7936-FD29-51BC-2033-DBB1DEC0A5DA}"/>
              </a:ext>
            </a:extLst>
          </p:cNvPr>
          <p:cNvSpPr/>
          <p:nvPr userDrawn="1"/>
        </p:nvSpPr>
        <p:spPr>
          <a:xfrm rot="2700000">
            <a:off x="6791395" y="1394362"/>
            <a:ext cx="2688966" cy="2688974"/>
          </a:xfrm>
          <a:custGeom>
            <a:avLst/>
            <a:gdLst>
              <a:gd name="connsiteX0" fmla="*/ 2214955 w 2688966"/>
              <a:gd name="connsiteY0" fmla="*/ 0 h 2688974"/>
              <a:gd name="connsiteX1" fmla="*/ 2688966 w 2688966"/>
              <a:gd name="connsiteY1" fmla="*/ 474013 h 2688974"/>
              <a:gd name="connsiteX2" fmla="*/ 2688966 w 2688966"/>
              <a:gd name="connsiteY2" fmla="*/ 2214961 h 2688974"/>
              <a:gd name="connsiteX3" fmla="*/ 2214955 w 2688966"/>
              <a:gd name="connsiteY3" fmla="*/ 2688975 h 2688974"/>
              <a:gd name="connsiteX4" fmla="*/ 474012 w 2688966"/>
              <a:gd name="connsiteY4" fmla="*/ 2688975 h 2688974"/>
              <a:gd name="connsiteX5" fmla="*/ 0 w 2688966"/>
              <a:gd name="connsiteY5" fmla="*/ 2214961 h 2688974"/>
              <a:gd name="connsiteX6" fmla="*/ 0 w 2688966"/>
              <a:gd name="connsiteY6" fmla="*/ 474013 h 2688974"/>
              <a:gd name="connsiteX7" fmla="*/ 474012 w 2688966"/>
              <a:gd name="connsiteY7" fmla="*/ 0 h 268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8966" h="2688974">
                <a:moveTo>
                  <a:pt x="2214955" y="0"/>
                </a:moveTo>
                <a:cubicBezTo>
                  <a:pt x="2476744" y="0"/>
                  <a:pt x="2688966" y="212223"/>
                  <a:pt x="2688966" y="474013"/>
                </a:cubicBezTo>
                <a:lnTo>
                  <a:pt x="2688966" y="2214961"/>
                </a:lnTo>
                <a:cubicBezTo>
                  <a:pt x="2688966" y="2476752"/>
                  <a:pt x="2476744" y="2688975"/>
                  <a:pt x="2214955" y="2688975"/>
                </a:cubicBezTo>
                <a:lnTo>
                  <a:pt x="474012" y="2688975"/>
                </a:lnTo>
                <a:cubicBezTo>
                  <a:pt x="212222" y="2688975"/>
                  <a:pt x="0" y="2476752"/>
                  <a:pt x="0" y="2214961"/>
                </a:cubicBezTo>
                <a:lnTo>
                  <a:pt x="0" y="474013"/>
                </a:lnTo>
                <a:cubicBezTo>
                  <a:pt x="0" y="212223"/>
                  <a:pt x="212222" y="0"/>
                  <a:pt x="474012" y="0"/>
                </a:cubicBezTo>
                <a:close/>
              </a:path>
            </a:pathLst>
          </a:custGeom>
          <a:gradFill>
            <a:gsLst>
              <a:gs pos="0">
                <a:schemeClr val="bg2"/>
              </a:gs>
              <a:gs pos="77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0" name="Freeform: Shape 9">
            <a:extLst>
              <a:ext uri="{FF2B5EF4-FFF2-40B4-BE49-F238E27FC236}">
                <a16:creationId xmlns:a16="http://schemas.microsoft.com/office/drawing/2014/main" id="{4DF1B1DB-24F4-AEEA-1E4B-82BDFD82EDEC}"/>
              </a:ext>
            </a:extLst>
          </p:cNvPr>
          <p:cNvSpPr/>
          <p:nvPr userDrawn="1"/>
        </p:nvSpPr>
        <p:spPr>
          <a:xfrm>
            <a:off x="7558759" y="0"/>
            <a:ext cx="5517734" cy="6864037"/>
          </a:xfrm>
          <a:custGeom>
            <a:avLst/>
            <a:gdLst>
              <a:gd name="connsiteX0" fmla="*/ 5517734 w 5517734"/>
              <a:gd name="connsiteY0" fmla="*/ 774771 h 6864037"/>
              <a:gd name="connsiteX1" fmla="*/ 5517734 w 5517734"/>
              <a:gd name="connsiteY1" fmla="*/ 5930262 h 6864037"/>
              <a:gd name="connsiteX2" fmla="*/ 4583962 w 5517734"/>
              <a:gd name="connsiteY2" fmla="*/ 6864038 h 6864037"/>
              <a:gd name="connsiteX3" fmla="*/ 3284330 w 5517734"/>
              <a:gd name="connsiteY3" fmla="*/ 6864038 h 6864037"/>
              <a:gd name="connsiteX4" fmla="*/ 160654 w 5517734"/>
              <a:gd name="connsiteY4" fmla="*/ 3740353 h 6864037"/>
              <a:gd name="connsiteX5" fmla="*/ 160654 w 5517734"/>
              <a:gd name="connsiteY5" fmla="*/ 2964681 h 6864037"/>
              <a:gd name="connsiteX6" fmla="*/ 1348233 w 5517734"/>
              <a:gd name="connsiteY6" fmla="*/ 1777249 h 6864037"/>
              <a:gd name="connsiteX7" fmla="*/ 2354157 w 5517734"/>
              <a:gd name="connsiteY7" fmla="*/ 771171 h 6864037"/>
              <a:gd name="connsiteX8" fmla="*/ 3125326 w 5517734"/>
              <a:gd name="connsiteY8" fmla="*/ 0 h 6864037"/>
              <a:gd name="connsiteX9" fmla="*/ 4742965 w 5517734"/>
              <a:gd name="connsiteY9" fmla="*/ 0 h 6864037"/>
              <a:gd name="connsiteX10" fmla="*/ 5517734 w 5517734"/>
              <a:gd name="connsiteY10" fmla="*/ 774771 h 686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17734" h="6864037">
                <a:moveTo>
                  <a:pt x="5517734" y="774771"/>
                </a:moveTo>
                <a:lnTo>
                  <a:pt x="5517734" y="5930262"/>
                </a:lnTo>
                <a:lnTo>
                  <a:pt x="4583962" y="6864038"/>
                </a:lnTo>
                <a:lnTo>
                  <a:pt x="3284330" y="6864038"/>
                </a:lnTo>
                <a:lnTo>
                  <a:pt x="160654" y="3740353"/>
                </a:lnTo>
                <a:cubicBezTo>
                  <a:pt x="-53551" y="3526147"/>
                  <a:pt x="-53551" y="3178887"/>
                  <a:pt x="160654" y="2964681"/>
                </a:cubicBezTo>
                <a:lnTo>
                  <a:pt x="1348233" y="1777249"/>
                </a:lnTo>
                <a:lnTo>
                  <a:pt x="2354157" y="771171"/>
                </a:lnTo>
                <a:lnTo>
                  <a:pt x="3125326" y="0"/>
                </a:lnTo>
                <a:lnTo>
                  <a:pt x="4742965" y="0"/>
                </a:lnTo>
                <a:lnTo>
                  <a:pt x="5517734" y="774771"/>
                </a:lnTo>
                <a:close/>
              </a:path>
            </a:pathLst>
          </a:custGeom>
          <a:solidFill>
            <a:schemeClr val="bg2">
              <a:lumMod val="75000"/>
              <a:alpha val="77000"/>
            </a:schemeClr>
          </a:solidFill>
          <a:ln w="13581"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110C62C6-1E6F-6201-9B5B-9086DEA9BD2E}"/>
              </a:ext>
            </a:extLst>
          </p:cNvPr>
          <p:cNvSpPr/>
          <p:nvPr userDrawn="1"/>
        </p:nvSpPr>
        <p:spPr>
          <a:xfrm>
            <a:off x="6284703" y="0"/>
            <a:ext cx="2859782" cy="2035743"/>
          </a:xfrm>
          <a:custGeom>
            <a:avLst/>
            <a:gdLst>
              <a:gd name="connsiteX0" fmla="*/ 2753242 w 2859782"/>
              <a:gd name="connsiteY0" fmla="*/ 862824 h 2035743"/>
              <a:gd name="connsiteX1" fmla="*/ 2230629 w 2859782"/>
              <a:gd name="connsiteY1" fmla="*/ 1385588 h 2035743"/>
              <a:gd name="connsiteX2" fmla="*/ 1686866 w 2859782"/>
              <a:gd name="connsiteY2" fmla="*/ 1929203 h 2035743"/>
              <a:gd name="connsiteX3" fmla="*/ 1172804 w 2859782"/>
              <a:gd name="connsiteY3" fmla="*/ 1929203 h 2035743"/>
              <a:gd name="connsiteX4" fmla="*/ 881947 w 2859782"/>
              <a:gd name="connsiteY4" fmla="*/ 1638345 h 2035743"/>
              <a:gd name="connsiteX5" fmla="*/ 458636 w 2859782"/>
              <a:gd name="connsiteY5" fmla="*/ 1215033 h 2035743"/>
              <a:gd name="connsiteX6" fmla="*/ 106428 w 2859782"/>
              <a:gd name="connsiteY6" fmla="*/ 862824 h 2035743"/>
              <a:gd name="connsiteX7" fmla="*/ 106428 w 2859782"/>
              <a:gd name="connsiteY7" fmla="*/ 348760 h 2035743"/>
              <a:gd name="connsiteX8" fmla="*/ 455186 w 2859782"/>
              <a:gd name="connsiteY8" fmla="*/ 0 h 2035743"/>
              <a:gd name="connsiteX9" fmla="*/ 2404484 w 2859782"/>
              <a:gd name="connsiteY9" fmla="*/ 0 h 2035743"/>
              <a:gd name="connsiteX10" fmla="*/ 2753242 w 2859782"/>
              <a:gd name="connsiteY10" fmla="*/ 348760 h 2035743"/>
              <a:gd name="connsiteX11" fmla="*/ 2753242 w 2859782"/>
              <a:gd name="connsiteY11" fmla="*/ 862824 h 20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9782" h="2035743">
                <a:moveTo>
                  <a:pt x="2753242" y="862824"/>
                </a:moveTo>
                <a:lnTo>
                  <a:pt x="2230629" y="1385588"/>
                </a:lnTo>
                <a:lnTo>
                  <a:pt x="1686866" y="1929203"/>
                </a:lnTo>
                <a:cubicBezTo>
                  <a:pt x="1544963" y="2071257"/>
                  <a:pt x="1314857" y="2071257"/>
                  <a:pt x="1172804" y="1929203"/>
                </a:cubicBezTo>
                <a:lnTo>
                  <a:pt x="881947" y="1638345"/>
                </a:lnTo>
                <a:lnTo>
                  <a:pt x="458636" y="1215033"/>
                </a:lnTo>
                <a:lnTo>
                  <a:pt x="106428" y="862824"/>
                </a:lnTo>
                <a:cubicBezTo>
                  <a:pt x="-35476" y="720920"/>
                  <a:pt x="-35476" y="490663"/>
                  <a:pt x="106428" y="348760"/>
                </a:cubicBezTo>
                <a:lnTo>
                  <a:pt x="455186" y="0"/>
                </a:lnTo>
                <a:lnTo>
                  <a:pt x="2404484" y="0"/>
                </a:lnTo>
                <a:lnTo>
                  <a:pt x="2753242" y="348760"/>
                </a:lnTo>
                <a:cubicBezTo>
                  <a:pt x="2895295" y="490663"/>
                  <a:pt x="2895295" y="720920"/>
                  <a:pt x="2753242" y="862824"/>
                </a:cubicBezTo>
                <a:close/>
              </a:path>
            </a:pathLst>
          </a:custGeom>
          <a:solidFill>
            <a:schemeClr val="bg2">
              <a:lumMod val="75000"/>
              <a:alpha val="65000"/>
            </a:schemeClr>
          </a:solidFill>
          <a:ln w="13581"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F7BF211-9D8E-94A4-C8EE-BDC88A43E611}"/>
              </a:ext>
            </a:extLst>
          </p:cNvPr>
          <p:cNvSpPr/>
          <p:nvPr userDrawn="1"/>
        </p:nvSpPr>
        <p:spPr>
          <a:xfrm>
            <a:off x="5733027" y="5296795"/>
            <a:ext cx="2049387" cy="1567242"/>
          </a:xfrm>
          <a:custGeom>
            <a:avLst/>
            <a:gdLst>
              <a:gd name="connsiteX0" fmla="*/ 1956235 w 2049387"/>
              <a:gd name="connsiteY0" fmla="*/ 1249384 h 1567242"/>
              <a:gd name="connsiteX1" fmla="*/ 1638377 w 2049387"/>
              <a:gd name="connsiteY1" fmla="*/ 1567243 h 1567242"/>
              <a:gd name="connsiteX2" fmla="*/ 410898 w 2049387"/>
              <a:gd name="connsiteY2" fmla="*/ 1567243 h 1567242"/>
              <a:gd name="connsiteX3" fmla="*/ 93040 w 2049387"/>
              <a:gd name="connsiteY3" fmla="*/ 1249384 h 1567242"/>
              <a:gd name="connsiteX4" fmla="*/ 93040 w 2049387"/>
              <a:gd name="connsiteY4" fmla="*/ 799972 h 1567242"/>
              <a:gd name="connsiteX5" fmla="*/ 799857 w 2049387"/>
              <a:gd name="connsiteY5" fmla="*/ 93153 h 1567242"/>
              <a:gd name="connsiteX6" fmla="*/ 1249418 w 2049387"/>
              <a:gd name="connsiteY6" fmla="*/ 93153 h 1567242"/>
              <a:gd name="connsiteX7" fmla="*/ 1956235 w 2049387"/>
              <a:gd name="connsiteY7" fmla="*/ 799972 h 1567242"/>
              <a:gd name="connsiteX8" fmla="*/ 1956235 w 2049387"/>
              <a:gd name="connsiteY8" fmla="*/ 1249384 h 156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9387" h="1567242">
                <a:moveTo>
                  <a:pt x="1956235" y="1249384"/>
                </a:moveTo>
                <a:lnTo>
                  <a:pt x="1638377" y="1567243"/>
                </a:lnTo>
                <a:lnTo>
                  <a:pt x="410898" y="1567243"/>
                </a:lnTo>
                <a:lnTo>
                  <a:pt x="93040" y="1249384"/>
                </a:lnTo>
                <a:cubicBezTo>
                  <a:pt x="-31013" y="1125331"/>
                  <a:pt x="-31013" y="924025"/>
                  <a:pt x="93040" y="799972"/>
                </a:cubicBezTo>
                <a:lnTo>
                  <a:pt x="799857" y="93153"/>
                </a:lnTo>
                <a:cubicBezTo>
                  <a:pt x="924060" y="-31051"/>
                  <a:pt x="1125215" y="-31051"/>
                  <a:pt x="1249418" y="93153"/>
                </a:cubicBezTo>
                <a:lnTo>
                  <a:pt x="1956235" y="799972"/>
                </a:lnTo>
                <a:cubicBezTo>
                  <a:pt x="2080438" y="924025"/>
                  <a:pt x="2080438" y="1125331"/>
                  <a:pt x="1956235" y="1249384"/>
                </a:cubicBezTo>
                <a:close/>
              </a:path>
            </a:pathLst>
          </a:custGeom>
          <a:gradFill>
            <a:gsLst>
              <a:gs pos="0">
                <a:schemeClr val="bg2">
                  <a:lumMod val="60000"/>
                  <a:lumOff val="40000"/>
                </a:schemeClr>
              </a:gs>
              <a:gs pos="73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13" name="Freeform: Shape 12">
            <a:extLst>
              <a:ext uri="{FF2B5EF4-FFF2-40B4-BE49-F238E27FC236}">
                <a16:creationId xmlns:a16="http://schemas.microsoft.com/office/drawing/2014/main" id="{9B3E890A-773E-816A-02D9-812A61A15E9E}"/>
              </a:ext>
            </a:extLst>
          </p:cNvPr>
          <p:cNvSpPr/>
          <p:nvPr userDrawn="1"/>
        </p:nvSpPr>
        <p:spPr>
          <a:xfrm>
            <a:off x="3673215" y="0"/>
            <a:ext cx="1509186" cy="604104"/>
          </a:xfrm>
          <a:custGeom>
            <a:avLst/>
            <a:gdLst>
              <a:gd name="connsiteX0" fmla="*/ 1509187 w 1509186"/>
              <a:gd name="connsiteY0" fmla="*/ 0 h 604104"/>
              <a:gd name="connsiteX1" fmla="*/ 1011625 w 1509186"/>
              <a:gd name="connsiteY1" fmla="*/ 497564 h 604104"/>
              <a:gd name="connsiteX2" fmla="*/ 497562 w 1509186"/>
              <a:gd name="connsiteY2" fmla="*/ 497564 h 604104"/>
              <a:gd name="connsiteX3" fmla="*/ 0 w 1509186"/>
              <a:gd name="connsiteY3" fmla="*/ 0 h 604104"/>
              <a:gd name="connsiteX4" fmla="*/ 1509187 w 1509186"/>
              <a:gd name="connsiteY4" fmla="*/ 0 h 604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186" h="604104">
                <a:moveTo>
                  <a:pt x="1509187" y="0"/>
                </a:moveTo>
                <a:lnTo>
                  <a:pt x="1011625" y="497564"/>
                </a:lnTo>
                <a:cubicBezTo>
                  <a:pt x="869721" y="639618"/>
                  <a:pt x="639466" y="639618"/>
                  <a:pt x="497562" y="497564"/>
                </a:cubicBezTo>
                <a:lnTo>
                  <a:pt x="0" y="0"/>
                </a:lnTo>
                <a:lnTo>
                  <a:pt x="1509187" y="0"/>
                </a:lnTo>
                <a:close/>
              </a:path>
            </a:pathLst>
          </a:custGeom>
          <a:gradFill>
            <a:gsLst>
              <a:gs pos="8000">
                <a:schemeClr val="bg2">
                  <a:lumMod val="60000"/>
                  <a:lumOff val="40000"/>
                </a:schemeClr>
              </a:gs>
              <a:gs pos="100000">
                <a:schemeClr val="bg2">
                  <a:lumMod val="75000"/>
                </a:schemeClr>
              </a:gs>
            </a:gsLst>
            <a:lin ang="18939382" scaled="1"/>
          </a:gra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Tree>
    <p:extLst>
      <p:ext uri="{BB962C8B-B14F-4D97-AF65-F5344CB8AC3E}">
        <p14:creationId xmlns:p14="http://schemas.microsoft.com/office/powerpoint/2010/main" val="1156313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ver 3">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D1878DE7-7CE1-155D-58B8-0E821BFE4D97}"/>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5C3FA7E9-87A6-6D06-563E-16727CB182D1}"/>
              </a:ext>
            </a:extLst>
          </p:cNvPr>
          <p:cNvGrpSpPr/>
          <p:nvPr userDrawn="1"/>
        </p:nvGrpSpPr>
        <p:grpSpPr>
          <a:xfrm>
            <a:off x="3227441" y="1"/>
            <a:ext cx="8964559" cy="6858000"/>
            <a:chOff x="3227441" y="0"/>
            <a:chExt cx="8964559" cy="6915049"/>
          </a:xfrm>
        </p:grpSpPr>
        <p:sp>
          <p:nvSpPr>
            <p:cNvPr id="4" name="Freeform: Shape 15">
              <a:extLst>
                <a:ext uri="{FF2B5EF4-FFF2-40B4-BE49-F238E27FC236}">
                  <a16:creationId xmlns:a16="http://schemas.microsoft.com/office/drawing/2014/main" id="{AD738473-E7DA-B632-CA2B-3E9AD4E339DF}"/>
                </a:ext>
              </a:extLst>
            </p:cNvPr>
            <p:cNvSpPr/>
            <p:nvPr/>
          </p:nvSpPr>
          <p:spPr>
            <a:xfrm flipH="1">
              <a:off x="7434216" y="2145932"/>
              <a:ext cx="4757784" cy="4757604"/>
            </a:xfrm>
            <a:custGeom>
              <a:avLst/>
              <a:gdLst>
                <a:gd name="connsiteX0" fmla="*/ 4757785 w 4757784"/>
                <a:gd name="connsiteY0" fmla="*/ 4757605 h 4757604"/>
                <a:gd name="connsiteX1" fmla="*/ 1673176 w 4757784"/>
                <a:gd name="connsiteY1" fmla="*/ 4757605 h 4757604"/>
                <a:gd name="connsiteX2" fmla="*/ 1115151 w 4757784"/>
                <a:gd name="connsiteY2" fmla="*/ 4199580 h 4757604"/>
                <a:gd name="connsiteX3" fmla="*/ 0 w 4757784"/>
                <a:gd name="connsiteY3" fmla="*/ 3084429 h 4757604"/>
                <a:gd name="connsiteX4" fmla="*/ 0 w 4757784"/>
                <a:gd name="connsiteY4" fmla="*/ 0 h 4757604"/>
                <a:gd name="connsiteX5" fmla="*/ 10434 w 4757784"/>
                <a:gd name="connsiteY5" fmla="*/ 10434 h 4757604"/>
                <a:gd name="connsiteX6" fmla="*/ 90666 w 4757784"/>
                <a:gd name="connsiteY6" fmla="*/ 90486 h 4757604"/>
                <a:gd name="connsiteX7" fmla="*/ 101639 w 4757784"/>
                <a:gd name="connsiteY7" fmla="*/ 101459 h 4757604"/>
                <a:gd name="connsiteX8" fmla="*/ 154167 w 4757784"/>
                <a:gd name="connsiteY8" fmla="*/ 154167 h 4757604"/>
                <a:gd name="connsiteX9" fmla="*/ 165141 w 4757784"/>
                <a:gd name="connsiteY9" fmla="*/ 165141 h 4757604"/>
                <a:gd name="connsiteX10" fmla="*/ 272177 w 4757784"/>
                <a:gd name="connsiteY10" fmla="*/ 272177 h 4757604"/>
                <a:gd name="connsiteX11" fmla="*/ 283150 w 4757784"/>
                <a:gd name="connsiteY11" fmla="*/ 283150 h 4757604"/>
                <a:gd name="connsiteX12" fmla="*/ 453868 w 4757784"/>
                <a:gd name="connsiteY12" fmla="*/ 453868 h 4757604"/>
                <a:gd name="connsiteX13" fmla="*/ 517549 w 4757784"/>
                <a:gd name="connsiteY13" fmla="*/ 517370 h 4757604"/>
                <a:gd name="connsiteX14" fmla="*/ 635559 w 4757784"/>
                <a:gd name="connsiteY14" fmla="*/ 635379 h 4757604"/>
                <a:gd name="connsiteX15" fmla="*/ 699060 w 4757784"/>
                <a:gd name="connsiteY15" fmla="*/ 699060 h 4757604"/>
                <a:gd name="connsiteX16" fmla="*/ 1577473 w 4757784"/>
                <a:gd name="connsiteY16" fmla="*/ 1577473 h 4757604"/>
                <a:gd name="connsiteX17" fmla="*/ 1732900 w 4757784"/>
                <a:gd name="connsiteY17" fmla="*/ 1732720 h 4757604"/>
                <a:gd name="connsiteX18" fmla="*/ 1800180 w 4757784"/>
                <a:gd name="connsiteY18" fmla="*/ 1800180 h 4757604"/>
                <a:gd name="connsiteX19" fmla="*/ 1932940 w 4757784"/>
                <a:gd name="connsiteY19" fmla="*/ 1932940 h 4757604"/>
                <a:gd name="connsiteX20" fmla="*/ 2407675 w 4757784"/>
                <a:gd name="connsiteY20" fmla="*/ 2407675 h 4757604"/>
                <a:gd name="connsiteX21" fmla="*/ 2475135 w 4757784"/>
                <a:gd name="connsiteY21" fmla="*/ 2474955 h 4757604"/>
                <a:gd name="connsiteX22" fmla="*/ 2630381 w 4757784"/>
                <a:gd name="connsiteY22" fmla="*/ 2630201 h 4757604"/>
                <a:gd name="connsiteX23" fmla="*/ 2699460 w 4757784"/>
                <a:gd name="connsiteY23" fmla="*/ 2699460 h 4757604"/>
                <a:gd name="connsiteX24" fmla="*/ 2893923 w 4757784"/>
                <a:gd name="connsiteY24" fmla="*/ 2893923 h 4757604"/>
                <a:gd name="connsiteX25" fmla="*/ 3174735 w 4757784"/>
                <a:gd name="connsiteY25" fmla="*/ 3174555 h 4757604"/>
                <a:gd name="connsiteX26" fmla="*/ 4757785 w 4757784"/>
                <a:gd name="connsiteY26" fmla="*/ 4757605 h 475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57784" h="4757604">
                  <a:moveTo>
                    <a:pt x="4757785" y="4757605"/>
                  </a:moveTo>
                  <a:lnTo>
                    <a:pt x="1673176" y="4757605"/>
                  </a:lnTo>
                  <a:lnTo>
                    <a:pt x="1115151" y="4199580"/>
                  </a:lnTo>
                  <a:lnTo>
                    <a:pt x="0" y="3084429"/>
                  </a:lnTo>
                  <a:lnTo>
                    <a:pt x="0" y="0"/>
                  </a:lnTo>
                  <a:lnTo>
                    <a:pt x="10434" y="10434"/>
                  </a:lnTo>
                  <a:lnTo>
                    <a:pt x="90666" y="90486"/>
                  </a:lnTo>
                  <a:lnTo>
                    <a:pt x="101639" y="101459"/>
                  </a:lnTo>
                  <a:lnTo>
                    <a:pt x="154167" y="154167"/>
                  </a:lnTo>
                  <a:lnTo>
                    <a:pt x="165141" y="165141"/>
                  </a:lnTo>
                  <a:lnTo>
                    <a:pt x="272177" y="272177"/>
                  </a:lnTo>
                  <a:lnTo>
                    <a:pt x="283150" y="283150"/>
                  </a:lnTo>
                  <a:lnTo>
                    <a:pt x="453868" y="453868"/>
                  </a:lnTo>
                  <a:lnTo>
                    <a:pt x="517549" y="517370"/>
                  </a:lnTo>
                  <a:lnTo>
                    <a:pt x="635559" y="635379"/>
                  </a:lnTo>
                  <a:lnTo>
                    <a:pt x="699060" y="699060"/>
                  </a:lnTo>
                  <a:lnTo>
                    <a:pt x="1577473" y="1577473"/>
                  </a:lnTo>
                  <a:lnTo>
                    <a:pt x="1732900" y="1732720"/>
                  </a:lnTo>
                  <a:lnTo>
                    <a:pt x="1800180" y="1800180"/>
                  </a:lnTo>
                  <a:lnTo>
                    <a:pt x="1932940" y="1932940"/>
                  </a:lnTo>
                  <a:lnTo>
                    <a:pt x="2407675" y="2407675"/>
                  </a:lnTo>
                  <a:lnTo>
                    <a:pt x="2475135" y="2474955"/>
                  </a:lnTo>
                  <a:lnTo>
                    <a:pt x="2630381" y="2630201"/>
                  </a:lnTo>
                  <a:lnTo>
                    <a:pt x="2699460" y="2699460"/>
                  </a:lnTo>
                  <a:lnTo>
                    <a:pt x="2893923" y="2893923"/>
                  </a:lnTo>
                  <a:lnTo>
                    <a:pt x="3174735" y="3174555"/>
                  </a:lnTo>
                  <a:lnTo>
                    <a:pt x="4757785" y="4757605"/>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18">
              <a:extLst>
                <a:ext uri="{FF2B5EF4-FFF2-40B4-BE49-F238E27FC236}">
                  <a16:creationId xmlns:a16="http://schemas.microsoft.com/office/drawing/2014/main" id="{105BF785-B0BC-2278-6F39-F349B1E407D6}"/>
                </a:ext>
              </a:extLst>
            </p:cNvPr>
            <p:cNvSpPr/>
            <p:nvPr/>
          </p:nvSpPr>
          <p:spPr>
            <a:xfrm flipH="1">
              <a:off x="7886051" y="0"/>
              <a:ext cx="4305949" cy="5076210"/>
            </a:xfrm>
            <a:custGeom>
              <a:avLst/>
              <a:gdLst>
                <a:gd name="connsiteX0" fmla="*/ 4257325 w 4305949"/>
                <a:gd name="connsiteY0" fmla="*/ 4492264 h 5076210"/>
                <a:gd name="connsiteX1" fmla="*/ 4050809 w 4305949"/>
                <a:gd name="connsiteY1" fmla="*/ 4820927 h 5076210"/>
                <a:gd name="connsiteX2" fmla="*/ 3558804 w 4305949"/>
                <a:gd name="connsiteY2" fmla="*/ 5067379 h 5076210"/>
                <a:gd name="connsiteX3" fmla="*/ 2987647 w 4305949"/>
                <a:gd name="connsiteY3" fmla="*/ 4952967 h 5076210"/>
                <a:gd name="connsiteX4" fmla="*/ 2910473 w 4305949"/>
                <a:gd name="connsiteY4" fmla="*/ 4900979 h 5076210"/>
                <a:gd name="connsiteX5" fmla="*/ 2818369 w 4305949"/>
                <a:gd name="connsiteY5" fmla="*/ 4820927 h 5076210"/>
                <a:gd name="connsiteX6" fmla="*/ 2554107 w 4305949"/>
                <a:gd name="connsiteY6" fmla="*/ 4556665 h 5076210"/>
                <a:gd name="connsiteX7" fmla="*/ 2488447 w 4305949"/>
                <a:gd name="connsiteY7" fmla="*/ 4491005 h 5076210"/>
                <a:gd name="connsiteX8" fmla="*/ 2362162 w 4305949"/>
                <a:gd name="connsiteY8" fmla="*/ 4364721 h 5076210"/>
                <a:gd name="connsiteX9" fmla="*/ 2303158 w 4305949"/>
                <a:gd name="connsiteY9" fmla="*/ 4305716 h 5076210"/>
                <a:gd name="connsiteX10" fmla="*/ 2048251 w 4305949"/>
                <a:gd name="connsiteY10" fmla="*/ 4050809 h 5076210"/>
                <a:gd name="connsiteX11" fmla="*/ 1862782 w 4305949"/>
                <a:gd name="connsiteY11" fmla="*/ 3865340 h 5076210"/>
                <a:gd name="connsiteX12" fmla="*/ 1796942 w 4305949"/>
                <a:gd name="connsiteY12" fmla="*/ 3799500 h 5076210"/>
                <a:gd name="connsiteX13" fmla="*/ 1575495 w 4305949"/>
                <a:gd name="connsiteY13" fmla="*/ 3578053 h 5076210"/>
                <a:gd name="connsiteX14" fmla="*/ 1446872 w 4305949"/>
                <a:gd name="connsiteY14" fmla="*/ 3449430 h 5076210"/>
                <a:gd name="connsiteX15" fmla="*/ 1382111 w 4305949"/>
                <a:gd name="connsiteY15" fmla="*/ 3384669 h 5076210"/>
                <a:gd name="connsiteX16" fmla="*/ 1041215 w 4305949"/>
                <a:gd name="connsiteY16" fmla="*/ 3043773 h 5076210"/>
                <a:gd name="connsiteX17" fmla="*/ 952528 w 4305949"/>
                <a:gd name="connsiteY17" fmla="*/ 2955087 h 5076210"/>
                <a:gd name="connsiteX18" fmla="*/ 888847 w 4305949"/>
                <a:gd name="connsiteY18" fmla="*/ 2891405 h 5076210"/>
                <a:gd name="connsiteX19" fmla="*/ 770837 w 4305949"/>
                <a:gd name="connsiteY19" fmla="*/ 2773396 h 5076210"/>
                <a:gd name="connsiteX20" fmla="*/ 589146 w 4305949"/>
                <a:gd name="connsiteY20" fmla="*/ 2591705 h 5076210"/>
                <a:gd name="connsiteX21" fmla="*/ 525465 w 4305949"/>
                <a:gd name="connsiteY21" fmla="*/ 2528023 h 5076210"/>
                <a:gd name="connsiteX22" fmla="*/ 407455 w 4305949"/>
                <a:gd name="connsiteY22" fmla="*/ 2410014 h 5076210"/>
                <a:gd name="connsiteX23" fmla="*/ 343954 w 4305949"/>
                <a:gd name="connsiteY23" fmla="*/ 2346512 h 5076210"/>
                <a:gd name="connsiteX24" fmla="*/ 225944 w 4305949"/>
                <a:gd name="connsiteY24" fmla="*/ 2228503 h 5076210"/>
                <a:gd name="connsiteX25" fmla="*/ 162263 w 4305949"/>
                <a:gd name="connsiteY25" fmla="*/ 2164821 h 5076210"/>
                <a:gd name="connsiteX26" fmla="*/ 44253 w 4305949"/>
                <a:gd name="connsiteY26" fmla="*/ 2046812 h 5076210"/>
                <a:gd name="connsiteX27" fmla="*/ 0 w 4305949"/>
                <a:gd name="connsiteY27" fmla="*/ 2002558 h 5076210"/>
                <a:gd name="connsiteX28" fmla="*/ 0 w 4305949"/>
                <a:gd name="connsiteY28" fmla="*/ 0 h 5076210"/>
                <a:gd name="connsiteX29" fmla="*/ 462323 w 4305949"/>
                <a:gd name="connsiteY29" fmla="*/ 0 h 5076210"/>
                <a:gd name="connsiteX30" fmla="*/ 2742814 w 4305949"/>
                <a:gd name="connsiteY30" fmla="*/ 2280491 h 5076210"/>
                <a:gd name="connsiteX31" fmla="*/ 3305516 w 4305949"/>
                <a:gd name="connsiteY31" fmla="*/ 2843194 h 5076210"/>
                <a:gd name="connsiteX32" fmla="*/ 3381970 w 4305949"/>
                <a:gd name="connsiteY32" fmla="*/ 2919648 h 5076210"/>
                <a:gd name="connsiteX33" fmla="*/ 4050809 w 4305949"/>
                <a:gd name="connsiteY33" fmla="*/ 3588486 h 5076210"/>
                <a:gd name="connsiteX34" fmla="*/ 4293663 w 4305949"/>
                <a:gd name="connsiteY34" fmla="*/ 4058724 h 5076210"/>
                <a:gd name="connsiteX35" fmla="*/ 4257325 w 4305949"/>
                <a:gd name="connsiteY35" fmla="*/ 4492264 h 507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05949" h="5076210">
                  <a:moveTo>
                    <a:pt x="4257325" y="4492264"/>
                  </a:moveTo>
                  <a:cubicBezTo>
                    <a:pt x="4215590" y="4612252"/>
                    <a:pt x="4146691" y="4725044"/>
                    <a:pt x="4050809" y="4820927"/>
                  </a:cubicBezTo>
                  <a:cubicBezTo>
                    <a:pt x="3912292" y="4959444"/>
                    <a:pt x="3738696" y="5041654"/>
                    <a:pt x="3558804" y="5067379"/>
                  </a:cubicBezTo>
                  <a:cubicBezTo>
                    <a:pt x="3363981" y="5095262"/>
                    <a:pt x="3161603" y="5057125"/>
                    <a:pt x="2987647" y="4952967"/>
                  </a:cubicBezTo>
                  <a:cubicBezTo>
                    <a:pt x="2961203" y="4937317"/>
                    <a:pt x="2935478" y="4919867"/>
                    <a:pt x="2910473" y="4900979"/>
                  </a:cubicBezTo>
                  <a:cubicBezTo>
                    <a:pt x="2878452" y="4876873"/>
                    <a:pt x="2847511" y="4850069"/>
                    <a:pt x="2818369" y="4820927"/>
                  </a:cubicBezTo>
                  <a:lnTo>
                    <a:pt x="2554107" y="4556665"/>
                  </a:lnTo>
                  <a:lnTo>
                    <a:pt x="2488447" y="4491005"/>
                  </a:lnTo>
                  <a:lnTo>
                    <a:pt x="2362162" y="4364721"/>
                  </a:lnTo>
                  <a:lnTo>
                    <a:pt x="2303158" y="4305716"/>
                  </a:lnTo>
                  <a:lnTo>
                    <a:pt x="2048251" y="4050809"/>
                  </a:lnTo>
                  <a:lnTo>
                    <a:pt x="1862782" y="3865340"/>
                  </a:lnTo>
                  <a:lnTo>
                    <a:pt x="1796942" y="3799500"/>
                  </a:lnTo>
                  <a:lnTo>
                    <a:pt x="1575495" y="3578053"/>
                  </a:lnTo>
                  <a:lnTo>
                    <a:pt x="1446872" y="3449430"/>
                  </a:lnTo>
                  <a:lnTo>
                    <a:pt x="1382111" y="3384669"/>
                  </a:lnTo>
                  <a:lnTo>
                    <a:pt x="1041215" y="3043773"/>
                  </a:lnTo>
                  <a:lnTo>
                    <a:pt x="952528" y="2955087"/>
                  </a:lnTo>
                  <a:lnTo>
                    <a:pt x="888847" y="2891405"/>
                  </a:lnTo>
                  <a:lnTo>
                    <a:pt x="770837" y="2773396"/>
                  </a:lnTo>
                  <a:lnTo>
                    <a:pt x="589146" y="2591705"/>
                  </a:lnTo>
                  <a:lnTo>
                    <a:pt x="525465" y="2528023"/>
                  </a:lnTo>
                  <a:lnTo>
                    <a:pt x="407455" y="2410014"/>
                  </a:lnTo>
                  <a:lnTo>
                    <a:pt x="343954" y="2346512"/>
                  </a:lnTo>
                  <a:lnTo>
                    <a:pt x="225944" y="2228503"/>
                  </a:lnTo>
                  <a:lnTo>
                    <a:pt x="162263" y="2164821"/>
                  </a:lnTo>
                  <a:lnTo>
                    <a:pt x="44253" y="2046812"/>
                  </a:lnTo>
                  <a:lnTo>
                    <a:pt x="0" y="2002558"/>
                  </a:lnTo>
                  <a:lnTo>
                    <a:pt x="0" y="0"/>
                  </a:lnTo>
                  <a:lnTo>
                    <a:pt x="462323" y="0"/>
                  </a:lnTo>
                  <a:lnTo>
                    <a:pt x="2742814" y="2280491"/>
                  </a:lnTo>
                  <a:lnTo>
                    <a:pt x="3305516" y="2843194"/>
                  </a:lnTo>
                  <a:lnTo>
                    <a:pt x="3381970" y="2919648"/>
                  </a:lnTo>
                  <a:lnTo>
                    <a:pt x="4050809" y="3588486"/>
                  </a:lnTo>
                  <a:cubicBezTo>
                    <a:pt x="4183749" y="3721426"/>
                    <a:pt x="4264701" y="3886568"/>
                    <a:pt x="4293663" y="4058724"/>
                  </a:cubicBezTo>
                  <a:cubicBezTo>
                    <a:pt x="4318129" y="4203177"/>
                    <a:pt x="4306076" y="4352668"/>
                    <a:pt x="4257325" y="4492264"/>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19">
              <a:extLst>
                <a:ext uri="{FF2B5EF4-FFF2-40B4-BE49-F238E27FC236}">
                  <a16:creationId xmlns:a16="http://schemas.microsoft.com/office/drawing/2014/main" id="{5C1E4B12-B33D-A109-1ADE-6DFF6349FD88}"/>
                </a:ext>
              </a:extLst>
            </p:cNvPr>
            <p:cNvSpPr/>
            <p:nvPr/>
          </p:nvSpPr>
          <p:spPr>
            <a:xfrm flipH="1">
              <a:off x="3534741" y="0"/>
              <a:ext cx="5191459" cy="3966034"/>
            </a:xfrm>
            <a:custGeom>
              <a:avLst/>
              <a:gdLst>
                <a:gd name="connsiteX0" fmla="*/ 4937677 w 5191459"/>
                <a:gd name="connsiteY0" fmla="*/ 3712252 h 3966034"/>
                <a:gd name="connsiteX1" fmla="*/ 3712252 w 5191459"/>
                <a:gd name="connsiteY1" fmla="*/ 3712252 h 3966034"/>
                <a:gd name="connsiteX2" fmla="*/ 0 w 5191459"/>
                <a:gd name="connsiteY2" fmla="*/ 0 h 3966034"/>
                <a:gd name="connsiteX3" fmla="*/ 2450849 w 5191459"/>
                <a:gd name="connsiteY3" fmla="*/ 0 h 3966034"/>
                <a:gd name="connsiteX4" fmla="*/ 4937677 w 5191459"/>
                <a:gd name="connsiteY4" fmla="*/ 2486828 h 3966034"/>
                <a:gd name="connsiteX5" fmla="*/ 4937677 w 5191459"/>
                <a:gd name="connsiteY5" fmla="*/ 3712252 h 396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1459" h="3966034">
                  <a:moveTo>
                    <a:pt x="4937677" y="3712252"/>
                  </a:moveTo>
                  <a:cubicBezTo>
                    <a:pt x="4599300" y="4050629"/>
                    <a:pt x="4050629" y="4050629"/>
                    <a:pt x="3712252" y="3712252"/>
                  </a:cubicBezTo>
                  <a:lnTo>
                    <a:pt x="0" y="0"/>
                  </a:lnTo>
                  <a:lnTo>
                    <a:pt x="2450849" y="0"/>
                  </a:lnTo>
                  <a:lnTo>
                    <a:pt x="4937677" y="2486828"/>
                  </a:lnTo>
                  <a:cubicBezTo>
                    <a:pt x="5276054" y="2825205"/>
                    <a:pt x="5276054" y="3373875"/>
                    <a:pt x="4937677" y="3712252"/>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20">
              <a:extLst>
                <a:ext uri="{FF2B5EF4-FFF2-40B4-BE49-F238E27FC236}">
                  <a16:creationId xmlns:a16="http://schemas.microsoft.com/office/drawing/2014/main" id="{A1B34098-F15D-2371-8FE1-317D8E18CBF9}"/>
                </a:ext>
              </a:extLst>
            </p:cNvPr>
            <p:cNvSpPr/>
            <p:nvPr/>
          </p:nvSpPr>
          <p:spPr>
            <a:xfrm flipH="1">
              <a:off x="5473618" y="0"/>
              <a:ext cx="2650664" cy="2027158"/>
            </a:xfrm>
            <a:custGeom>
              <a:avLst/>
              <a:gdLst>
                <a:gd name="connsiteX0" fmla="*/ 2521547 w 2650664"/>
                <a:gd name="connsiteY0" fmla="*/ 1898041 h 2027158"/>
                <a:gd name="connsiteX1" fmla="*/ 1898041 w 2650664"/>
                <a:gd name="connsiteY1" fmla="*/ 1898041 h 2027158"/>
                <a:gd name="connsiteX2" fmla="*/ 0 w 2650664"/>
                <a:gd name="connsiteY2" fmla="*/ 0 h 2027158"/>
                <a:gd name="connsiteX3" fmla="*/ 1247012 w 2650664"/>
                <a:gd name="connsiteY3" fmla="*/ 0 h 2027158"/>
                <a:gd name="connsiteX4" fmla="*/ 2521547 w 2650664"/>
                <a:gd name="connsiteY4" fmla="*/ 1274535 h 2027158"/>
                <a:gd name="connsiteX5" fmla="*/ 2521547 w 2650664"/>
                <a:gd name="connsiteY5" fmla="*/ 1898041 h 202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0664" h="2027158">
                  <a:moveTo>
                    <a:pt x="2521547" y="1898041"/>
                  </a:moveTo>
                  <a:cubicBezTo>
                    <a:pt x="2349390" y="2070198"/>
                    <a:pt x="2070198" y="2070198"/>
                    <a:pt x="1898041" y="1898041"/>
                  </a:cubicBezTo>
                  <a:lnTo>
                    <a:pt x="0" y="0"/>
                  </a:lnTo>
                  <a:lnTo>
                    <a:pt x="1247012" y="0"/>
                  </a:lnTo>
                  <a:lnTo>
                    <a:pt x="2521547" y="1274535"/>
                  </a:lnTo>
                  <a:cubicBezTo>
                    <a:pt x="2693703" y="1446692"/>
                    <a:pt x="2693703" y="1725884"/>
                    <a:pt x="2521547" y="1898041"/>
                  </a:cubicBez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21">
              <a:extLst>
                <a:ext uri="{FF2B5EF4-FFF2-40B4-BE49-F238E27FC236}">
                  <a16:creationId xmlns:a16="http://schemas.microsoft.com/office/drawing/2014/main" id="{62A03ECD-B52A-209E-FC4D-EE886C65EA1E}"/>
                </a:ext>
              </a:extLst>
            </p:cNvPr>
            <p:cNvSpPr/>
            <p:nvPr/>
          </p:nvSpPr>
          <p:spPr>
            <a:xfrm flipH="1">
              <a:off x="4771094" y="0"/>
              <a:ext cx="7420906" cy="6903536"/>
            </a:xfrm>
            <a:custGeom>
              <a:avLst/>
              <a:gdLst>
                <a:gd name="connsiteX0" fmla="*/ 7420906 w 7420906"/>
                <a:gd name="connsiteY0" fmla="*/ 6903537 h 6903536"/>
                <a:gd name="connsiteX1" fmla="*/ 5394962 w 7420906"/>
                <a:gd name="connsiteY1" fmla="*/ 6903537 h 6903536"/>
                <a:gd name="connsiteX2" fmla="*/ 2971097 w 7420906"/>
                <a:gd name="connsiteY2" fmla="*/ 4479672 h 6903536"/>
                <a:gd name="connsiteX3" fmla="*/ 2895183 w 7420906"/>
                <a:gd name="connsiteY3" fmla="*/ 4403757 h 6903536"/>
                <a:gd name="connsiteX4" fmla="*/ 2712232 w 7420906"/>
                <a:gd name="connsiteY4" fmla="*/ 4220807 h 6903536"/>
                <a:gd name="connsiteX5" fmla="*/ 2226884 w 7420906"/>
                <a:gd name="connsiteY5" fmla="*/ 3735458 h 6903536"/>
                <a:gd name="connsiteX6" fmla="*/ 2132980 w 7420906"/>
                <a:gd name="connsiteY6" fmla="*/ 3641554 h 6903536"/>
                <a:gd name="connsiteX7" fmla="*/ 1950030 w 7420906"/>
                <a:gd name="connsiteY7" fmla="*/ 3458604 h 6903536"/>
                <a:gd name="connsiteX8" fmla="*/ 1667239 w 7420906"/>
                <a:gd name="connsiteY8" fmla="*/ 3175814 h 6903536"/>
                <a:gd name="connsiteX9" fmla="*/ 0 w 7420906"/>
                <a:gd name="connsiteY9" fmla="*/ 1508575 h 6903536"/>
                <a:gd name="connsiteX10" fmla="*/ 0 w 7420906"/>
                <a:gd name="connsiteY10" fmla="*/ 0 h 6903536"/>
                <a:gd name="connsiteX11" fmla="*/ 517370 w 7420906"/>
                <a:gd name="connsiteY11" fmla="*/ 0 h 6903536"/>
                <a:gd name="connsiteX12" fmla="*/ 2209254 w 7420906"/>
                <a:gd name="connsiteY12" fmla="*/ 1691885 h 6903536"/>
                <a:gd name="connsiteX13" fmla="*/ 2283909 w 7420906"/>
                <a:gd name="connsiteY13" fmla="*/ 1766540 h 6903536"/>
                <a:gd name="connsiteX14" fmla="*/ 4276394 w 7420906"/>
                <a:gd name="connsiteY14" fmla="*/ 3759024 h 6903536"/>
                <a:gd name="connsiteX15" fmla="*/ 5290985 w 7420906"/>
                <a:gd name="connsiteY15" fmla="*/ 4773615 h 6903536"/>
                <a:gd name="connsiteX16" fmla="*/ 7420906 w 7420906"/>
                <a:gd name="connsiteY16"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0906" h="6903536">
                  <a:moveTo>
                    <a:pt x="7420906" y="6903537"/>
                  </a:moveTo>
                  <a:lnTo>
                    <a:pt x="5394962" y="6903537"/>
                  </a:lnTo>
                  <a:lnTo>
                    <a:pt x="2971097" y="4479672"/>
                  </a:lnTo>
                  <a:lnTo>
                    <a:pt x="2895183" y="4403757"/>
                  </a:lnTo>
                  <a:lnTo>
                    <a:pt x="2712232" y="4220807"/>
                  </a:lnTo>
                  <a:lnTo>
                    <a:pt x="2226884" y="3735458"/>
                  </a:lnTo>
                  <a:lnTo>
                    <a:pt x="2132980" y="3641554"/>
                  </a:lnTo>
                  <a:lnTo>
                    <a:pt x="1950030" y="3458604"/>
                  </a:lnTo>
                  <a:lnTo>
                    <a:pt x="1667239" y="3175814"/>
                  </a:lnTo>
                  <a:lnTo>
                    <a:pt x="0" y="1508575"/>
                  </a:lnTo>
                  <a:lnTo>
                    <a:pt x="0" y="0"/>
                  </a:lnTo>
                  <a:lnTo>
                    <a:pt x="517370" y="0"/>
                  </a:lnTo>
                  <a:lnTo>
                    <a:pt x="2209254" y="1691885"/>
                  </a:lnTo>
                  <a:lnTo>
                    <a:pt x="2283909" y="1766540"/>
                  </a:lnTo>
                  <a:lnTo>
                    <a:pt x="4276394" y="3759024"/>
                  </a:lnTo>
                  <a:lnTo>
                    <a:pt x="5290985" y="4773615"/>
                  </a:lnTo>
                  <a:lnTo>
                    <a:pt x="7420906"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22">
              <a:extLst>
                <a:ext uri="{FF2B5EF4-FFF2-40B4-BE49-F238E27FC236}">
                  <a16:creationId xmlns:a16="http://schemas.microsoft.com/office/drawing/2014/main" id="{BE689352-2C21-998E-16DE-ABCD005BE350}"/>
                </a:ext>
              </a:extLst>
            </p:cNvPr>
            <p:cNvSpPr/>
            <p:nvPr/>
          </p:nvSpPr>
          <p:spPr>
            <a:xfrm flipH="1">
              <a:off x="3227441" y="0"/>
              <a:ext cx="8964559" cy="6903536"/>
            </a:xfrm>
            <a:custGeom>
              <a:avLst/>
              <a:gdLst>
                <a:gd name="connsiteX0" fmla="*/ 8964560 w 8964559"/>
                <a:gd name="connsiteY0" fmla="*/ 6903537 h 6903536"/>
                <a:gd name="connsiteX1" fmla="*/ 6668598 w 8964559"/>
                <a:gd name="connsiteY1" fmla="*/ 6903537 h 6903536"/>
                <a:gd name="connsiteX2" fmla="*/ 1573156 w 8964559"/>
                <a:gd name="connsiteY2" fmla="*/ 1808095 h 6903536"/>
                <a:gd name="connsiteX3" fmla="*/ 1056686 w 8964559"/>
                <a:gd name="connsiteY3" fmla="*/ 1291625 h 6903536"/>
                <a:gd name="connsiteX4" fmla="*/ 0 w 8964559"/>
                <a:gd name="connsiteY4" fmla="*/ 234939 h 6903536"/>
                <a:gd name="connsiteX5" fmla="*/ 0 w 8964559"/>
                <a:gd name="connsiteY5" fmla="*/ 0 h 6903536"/>
                <a:gd name="connsiteX6" fmla="*/ 2061023 w 8964559"/>
                <a:gd name="connsiteY6" fmla="*/ 0 h 6903536"/>
                <a:gd name="connsiteX7" fmla="*/ 2942134 w 8964559"/>
                <a:gd name="connsiteY7" fmla="*/ 881111 h 6903536"/>
                <a:gd name="connsiteX8" fmla="*/ 3621767 w 8964559"/>
                <a:gd name="connsiteY8" fmla="*/ 1560743 h 6903536"/>
                <a:gd name="connsiteX9" fmla="*/ 4093623 w 8964559"/>
                <a:gd name="connsiteY9" fmla="*/ 2032600 h 6903536"/>
                <a:gd name="connsiteX10" fmla="*/ 5364201 w 8964559"/>
                <a:gd name="connsiteY10" fmla="*/ 3303178 h 6903536"/>
                <a:gd name="connsiteX11" fmla="*/ 5372476 w 8964559"/>
                <a:gd name="connsiteY11" fmla="*/ 3311453 h 6903536"/>
                <a:gd name="connsiteX12" fmla="*/ 5475914 w 8964559"/>
                <a:gd name="connsiteY12" fmla="*/ 3414891 h 6903536"/>
                <a:gd name="connsiteX13" fmla="*/ 5603637 w 8964559"/>
                <a:gd name="connsiteY13" fmla="*/ 3542614 h 6903536"/>
                <a:gd name="connsiteX14" fmla="*/ 5709234 w 8964559"/>
                <a:gd name="connsiteY14" fmla="*/ 3648211 h 6903536"/>
                <a:gd name="connsiteX15" fmla="*/ 8964560 w 8964559"/>
                <a:gd name="connsiteY15" fmla="*/ 6903537 h 69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64559" h="6903536">
                  <a:moveTo>
                    <a:pt x="8964560" y="6903537"/>
                  </a:moveTo>
                  <a:lnTo>
                    <a:pt x="6668598" y="6903537"/>
                  </a:lnTo>
                  <a:lnTo>
                    <a:pt x="1573156" y="1808095"/>
                  </a:lnTo>
                  <a:lnTo>
                    <a:pt x="1056686" y="1291625"/>
                  </a:lnTo>
                  <a:lnTo>
                    <a:pt x="0" y="234939"/>
                  </a:lnTo>
                  <a:lnTo>
                    <a:pt x="0" y="0"/>
                  </a:lnTo>
                  <a:lnTo>
                    <a:pt x="2061023" y="0"/>
                  </a:lnTo>
                  <a:lnTo>
                    <a:pt x="2942134" y="881111"/>
                  </a:lnTo>
                  <a:lnTo>
                    <a:pt x="3621767" y="1560743"/>
                  </a:lnTo>
                  <a:lnTo>
                    <a:pt x="4093623" y="2032600"/>
                  </a:lnTo>
                  <a:lnTo>
                    <a:pt x="5364201" y="3303178"/>
                  </a:lnTo>
                  <a:lnTo>
                    <a:pt x="5372476" y="3311453"/>
                  </a:lnTo>
                  <a:lnTo>
                    <a:pt x="5475914" y="3414891"/>
                  </a:lnTo>
                  <a:lnTo>
                    <a:pt x="5603637" y="3542614"/>
                  </a:lnTo>
                  <a:lnTo>
                    <a:pt x="5709234" y="3648211"/>
                  </a:lnTo>
                  <a:lnTo>
                    <a:pt x="8964560" y="6903537"/>
                  </a:lnTo>
                  <a:close/>
                </a:path>
              </a:pathLst>
            </a:custGeom>
            <a:gradFill>
              <a:gsLst>
                <a:gs pos="0">
                  <a:srgbClr val="FFFFFF">
                    <a:alpha val="8000"/>
                  </a:srgbClr>
                </a:gs>
                <a:gs pos="99000">
                  <a:srgbClr val="FFFFFF">
                    <a:alpha val="0"/>
                  </a:srgb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24">
              <a:extLst>
                <a:ext uri="{FF2B5EF4-FFF2-40B4-BE49-F238E27FC236}">
                  <a16:creationId xmlns:a16="http://schemas.microsoft.com/office/drawing/2014/main" id="{8AF9DFD9-916F-BA4C-C747-4122EED1AA72}"/>
                </a:ext>
              </a:extLst>
            </p:cNvPr>
            <p:cNvSpPr/>
            <p:nvPr/>
          </p:nvSpPr>
          <p:spPr>
            <a:xfrm flipH="1">
              <a:off x="4400697" y="2810633"/>
              <a:ext cx="4425470" cy="4104416"/>
            </a:xfrm>
            <a:custGeom>
              <a:avLst/>
              <a:gdLst>
                <a:gd name="connsiteX0" fmla="*/ 4425471 w 4425470"/>
                <a:gd name="connsiteY0" fmla="*/ 4104417 h 4104416"/>
                <a:gd name="connsiteX1" fmla="*/ 3783256 w 4425470"/>
                <a:gd name="connsiteY1" fmla="*/ 4104417 h 4104416"/>
                <a:gd name="connsiteX2" fmla="*/ 1842581 w 4425470"/>
                <a:gd name="connsiteY2" fmla="*/ 2163921 h 4104416"/>
                <a:gd name="connsiteX3" fmla="*/ 938264 w 4425470"/>
                <a:gd name="connsiteY3" fmla="*/ 1259604 h 4104416"/>
                <a:gd name="connsiteX4" fmla="*/ 300726 w 4425470"/>
                <a:gd name="connsiteY4" fmla="*/ 622067 h 4104416"/>
                <a:gd name="connsiteX5" fmla="*/ 66327 w 4425470"/>
                <a:gd name="connsiteY5" fmla="*/ 387667 h 4104416"/>
                <a:gd name="connsiteX6" fmla="*/ 15597 w 4425470"/>
                <a:gd name="connsiteY6" fmla="*/ 144093 h 4104416"/>
                <a:gd name="connsiteX7" fmla="*/ 26571 w 4425470"/>
                <a:gd name="connsiteY7" fmla="*/ 120528 h 4104416"/>
                <a:gd name="connsiteX8" fmla="*/ 48338 w 4425470"/>
                <a:gd name="connsiteY8" fmla="*/ 87247 h 4104416"/>
                <a:gd name="connsiteX9" fmla="*/ 66327 w 4425470"/>
                <a:gd name="connsiteY9" fmla="*/ 66560 h 4104416"/>
                <a:gd name="connsiteX10" fmla="*/ 226971 w 4425470"/>
                <a:gd name="connsiteY10" fmla="*/ 0 h 4104416"/>
                <a:gd name="connsiteX11" fmla="*/ 387434 w 4425470"/>
                <a:gd name="connsiteY11" fmla="*/ 66560 h 4104416"/>
                <a:gd name="connsiteX12" fmla="*/ 920994 w 4425470"/>
                <a:gd name="connsiteY12" fmla="*/ 600120 h 4104416"/>
                <a:gd name="connsiteX13" fmla="*/ 2047298 w 4425470"/>
                <a:gd name="connsiteY13" fmla="*/ 1726244 h 4104416"/>
                <a:gd name="connsiteX14" fmla="*/ 4425471 w 4425470"/>
                <a:gd name="connsiteY14" fmla="*/ 4104417 h 41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5470" h="4104416">
                  <a:moveTo>
                    <a:pt x="4425471" y="4104417"/>
                  </a:moveTo>
                  <a:lnTo>
                    <a:pt x="3783256" y="4104417"/>
                  </a:lnTo>
                  <a:lnTo>
                    <a:pt x="1842581" y="2163921"/>
                  </a:lnTo>
                  <a:lnTo>
                    <a:pt x="938264" y="1259604"/>
                  </a:lnTo>
                  <a:lnTo>
                    <a:pt x="300726" y="622067"/>
                  </a:lnTo>
                  <a:lnTo>
                    <a:pt x="66327" y="387667"/>
                  </a:lnTo>
                  <a:cubicBezTo>
                    <a:pt x="666" y="321827"/>
                    <a:pt x="-16244" y="225584"/>
                    <a:pt x="15597" y="144093"/>
                  </a:cubicBezTo>
                  <a:cubicBezTo>
                    <a:pt x="18835" y="135998"/>
                    <a:pt x="22433" y="128083"/>
                    <a:pt x="26571" y="120528"/>
                  </a:cubicBezTo>
                  <a:cubicBezTo>
                    <a:pt x="32507" y="109015"/>
                    <a:pt x="39703" y="97861"/>
                    <a:pt x="48338" y="87247"/>
                  </a:cubicBezTo>
                  <a:cubicBezTo>
                    <a:pt x="53734" y="80052"/>
                    <a:pt x="59671" y="73216"/>
                    <a:pt x="66327" y="66560"/>
                  </a:cubicBezTo>
                  <a:cubicBezTo>
                    <a:pt x="110760" y="22127"/>
                    <a:pt x="168685" y="0"/>
                    <a:pt x="226971" y="0"/>
                  </a:cubicBezTo>
                  <a:cubicBezTo>
                    <a:pt x="285256" y="0"/>
                    <a:pt x="343181" y="22127"/>
                    <a:pt x="387434" y="66560"/>
                  </a:cubicBezTo>
                  <a:lnTo>
                    <a:pt x="920994" y="600120"/>
                  </a:lnTo>
                  <a:lnTo>
                    <a:pt x="2047298" y="1726244"/>
                  </a:lnTo>
                  <a:lnTo>
                    <a:pt x="4425471" y="4104417"/>
                  </a:ln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25">
              <a:extLst>
                <a:ext uri="{FF2B5EF4-FFF2-40B4-BE49-F238E27FC236}">
                  <a16:creationId xmlns:a16="http://schemas.microsoft.com/office/drawing/2014/main" id="{9FB74CCB-0493-360D-21F2-DBAE55C05011}"/>
                </a:ext>
              </a:extLst>
            </p:cNvPr>
            <p:cNvSpPr/>
            <p:nvPr/>
          </p:nvSpPr>
          <p:spPr>
            <a:xfrm flipH="1">
              <a:off x="6158063" y="5370316"/>
              <a:ext cx="1594877" cy="1544732"/>
            </a:xfrm>
            <a:custGeom>
              <a:avLst/>
              <a:gdLst>
                <a:gd name="connsiteX0" fmla="*/ 1594878 w 1594877"/>
                <a:gd name="connsiteY0" fmla="*/ 1544733 h 1544732"/>
                <a:gd name="connsiteX1" fmla="*/ 1494678 w 1594877"/>
                <a:gd name="connsiteY1" fmla="*/ 1544733 h 1544732"/>
                <a:gd name="connsiteX2" fmla="*/ 10389 w 1594877"/>
                <a:gd name="connsiteY2" fmla="*/ 60444 h 1544732"/>
                <a:gd name="connsiteX3" fmla="*/ 10389 w 1594877"/>
                <a:gd name="connsiteY3" fmla="*/ 10433 h 1544732"/>
                <a:gd name="connsiteX4" fmla="*/ 35394 w 1594877"/>
                <a:gd name="connsiteY4" fmla="*/ 0 h 1544732"/>
                <a:gd name="connsiteX5" fmla="*/ 60399 w 1594877"/>
                <a:gd name="connsiteY5" fmla="*/ 10433 h 1544732"/>
                <a:gd name="connsiteX6" fmla="*/ 358120 w 1594877"/>
                <a:gd name="connsiteY6" fmla="*/ 308155 h 1544732"/>
                <a:gd name="connsiteX7" fmla="*/ 1594878 w 1594877"/>
                <a:gd name="connsiteY7" fmla="*/ 1544733 h 1544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4877" h="1544732">
                  <a:moveTo>
                    <a:pt x="1594878" y="1544733"/>
                  </a:moveTo>
                  <a:lnTo>
                    <a:pt x="1494678" y="1544733"/>
                  </a:lnTo>
                  <a:lnTo>
                    <a:pt x="10389" y="60444"/>
                  </a:lnTo>
                  <a:cubicBezTo>
                    <a:pt x="-3463" y="46592"/>
                    <a:pt x="-3463" y="24286"/>
                    <a:pt x="10389" y="10433"/>
                  </a:cubicBezTo>
                  <a:cubicBezTo>
                    <a:pt x="17225" y="3598"/>
                    <a:pt x="26399" y="0"/>
                    <a:pt x="35394" y="0"/>
                  </a:cubicBezTo>
                  <a:cubicBezTo>
                    <a:pt x="44388" y="0"/>
                    <a:pt x="53563" y="3598"/>
                    <a:pt x="60399" y="10433"/>
                  </a:cubicBezTo>
                  <a:lnTo>
                    <a:pt x="358120" y="308155"/>
                  </a:lnTo>
                  <a:lnTo>
                    <a:pt x="1594878" y="1544733"/>
                  </a:ln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26">
              <a:extLst>
                <a:ext uri="{FF2B5EF4-FFF2-40B4-BE49-F238E27FC236}">
                  <a16:creationId xmlns:a16="http://schemas.microsoft.com/office/drawing/2014/main" id="{7C65DE81-5BDA-2EF4-2236-2DF8D40CEFC8}"/>
                </a:ext>
              </a:extLst>
            </p:cNvPr>
            <p:cNvSpPr/>
            <p:nvPr/>
          </p:nvSpPr>
          <p:spPr>
            <a:xfrm flipH="1">
              <a:off x="11221664" y="4466898"/>
              <a:ext cx="959903" cy="1033434"/>
            </a:xfrm>
            <a:custGeom>
              <a:avLst/>
              <a:gdLst>
                <a:gd name="connsiteX0" fmla="*/ 944793 w 959903"/>
                <a:gd name="connsiteY0" fmla="*/ 1018189 h 1033434"/>
                <a:gd name="connsiteX1" fmla="*/ 871397 w 959903"/>
                <a:gd name="connsiteY1" fmla="*/ 1018189 h 1033434"/>
                <a:gd name="connsiteX2" fmla="*/ 0 w 959903"/>
                <a:gd name="connsiteY2" fmla="*/ 146792 h 1033434"/>
                <a:gd name="connsiteX3" fmla="*/ 0 w 959903"/>
                <a:gd name="connsiteY3" fmla="*/ 0 h 1033434"/>
                <a:gd name="connsiteX4" fmla="*/ 944793 w 959903"/>
                <a:gd name="connsiteY4" fmla="*/ 944793 h 1033434"/>
                <a:gd name="connsiteX5" fmla="*/ 944793 w 959903"/>
                <a:gd name="connsiteY5" fmla="*/ 1018189 h 103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903" h="1033434">
                  <a:moveTo>
                    <a:pt x="944793" y="1018189"/>
                  </a:moveTo>
                  <a:cubicBezTo>
                    <a:pt x="924465" y="1038517"/>
                    <a:pt x="891545" y="1038517"/>
                    <a:pt x="871397" y="1018189"/>
                  </a:cubicBezTo>
                  <a:lnTo>
                    <a:pt x="0" y="146792"/>
                  </a:lnTo>
                  <a:lnTo>
                    <a:pt x="0" y="0"/>
                  </a:lnTo>
                  <a:lnTo>
                    <a:pt x="944793" y="944793"/>
                  </a:lnTo>
                  <a:cubicBezTo>
                    <a:pt x="964941" y="965121"/>
                    <a:pt x="964941" y="997861"/>
                    <a:pt x="944793" y="101818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27">
              <a:extLst>
                <a:ext uri="{FF2B5EF4-FFF2-40B4-BE49-F238E27FC236}">
                  <a16:creationId xmlns:a16="http://schemas.microsoft.com/office/drawing/2014/main" id="{6306B905-10E3-B94C-DEF1-E3D639005AFB}"/>
                </a:ext>
              </a:extLst>
            </p:cNvPr>
            <p:cNvSpPr/>
            <p:nvPr/>
          </p:nvSpPr>
          <p:spPr>
            <a:xfrm flipH="1">
              <a:off x="6554229" y="1253172"/>
              <a:ext cx="701489" cy="701489"/>
            </a:xfrm>
            <a:custGeom>
              <a:avLst/>
              <a:gdLst>
                <a:gd name="connsiteX0" fmla="*/ 694339 w 701489"/>
                <a:gd name="connsiteY0" fmla="*/ 694338 h 701489"/>
                <a:gd name="connsiteX1" fmla="*/ 694339 w 701489"/>
                <a:gd name="connsiteY1" fmla="*/ 694338 h 701489"/>
                <a:gd name="connsiteX2" fmla="*/ 659799 w 701489"/>
                <a:gd name="connsiteY2" fmla="*/ 694338 h 701489"/>
                <a:gd name="connsiteX3" fmla="*/ 7151 w 701489"/>
                <a:gd name="connsiteY3" fmla="*/ 41690 h 701489"/>
                <a:gd name="connsiteX4" fmla="*/ 7151 w 701489"/>
                <a:gd name="connsiteY4" fmla="*/ 7151 h 701489"/>
                <a:gd name="connsiteX5" fmla="*/ 7151 w 701489"/>
                <a:gd name="connsiteY5" fmla="*/ 7151 h 701489"/>
                <a:gd name="connsiteX6" fmla="*/ 41690 w 701489"/>
                <a:gd name="connsiteY6" fmla="*/ 7151 h 701489"/>
                <a:gd name="connsiteX7" fmla="*/ 694339 w 701489"/>
                <a:gd name="connsiteY7" fmla="*/ 659799 h 701489"/>
                <a:gd name="connsiteX8" fmla="*/ 694339 w 701489"/>
                <a:gd name="connsiteY8" fmla="*/ 694338 h 70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489" h="701489">
                  <a:moveTo>
                    <a:pt x="694339" y="694338"/>
                  </a:moveTo>
                  <a:lnTo>
                    <a:pt x="694339" y="694338"/>
                  </a:lnTo>
                  <a:cubicBezTo>
                    <a:pt x="684804" y="703873"/>
                    <a:pt x="669333" y="703873"/>
                    <a:pt x="659799" y="694338"/>
                  </a:cubicBezTo>
                  <a:lnTo>
                    <a:pt x="7151" y="41690"/>
                  </a:lnTo>
                  <a:cubicBezTo>
                    <a:pt x="-2384" y="32156"/>
                    <a:pt x="-2384" y="16685"/>
                    <a:pt x="7151" y="7151"/>
                  </a:cubicBezTo>
                  <a:lnTo>
                    <a:pt x="7151" y="7151"/>
                  </a:lnTo>
                  <a:cubicBezTo>
                    <a:pt x="16685" y="-2384"/>
                    <a:pt x="32156" y="-2384"/>
                    <a:pt x="41690" y="7151"/>
                  </a:cubicBezTo>
                  <a:lnTo>
                    <a:pt x="694339" y="659799"/>
                  </a:lnTo>
                  <a:cubicBezTo>
                    <a:pt x="703873" y="669333"/>
                    <a:pt x="703873" y="684804"/>
                    <a:pt x="694339" y="69433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28">
              <a:extLst>
                <a:ext uri="{FF2B5EF4-FFF2-40B4-BE49-F238E27FC236}">
                  <a16:creationId xmlns:a16="http://schemas.microsoft.com/office/drawing/2014/main" id="{449B93B0-089A-8978-DB97-F515E683C646}"/>
                </a:ext>
              </a:extLst>
            </p:cNvPr>
            <p:cNvSpPr/>
            <p:nvPr/>
          </p:nvSpPr>
          <p:spPr>
            <a:xfrm flipH="1">
              <a:off x="9338059" y="5464445"/>
              <a:ext cx="249779" cy="249779"/>
            </a:xfrm>
            <a:custGeom>
              <a:avLst/>
              <a:gdLst>
                <a:gd name="connsiteX0" fmla="*/ 242629 w 249779"/>
                <a:gd name="connsiteY0" fmla="*/ 242629 h 249779"/>
                <a:gd name="connsiteX1" fmla="*/ 242629 w 249779"/>
                <a:gd name="connsiteY1" fmla="*/ 242629 h 249779"/>
                <a:gd name="connsiteX2" fmla="*/ 208090 w 249779"/>
                <a:gd name="connsiteY2" fmla="*/ 242629 h 249779"/>
                <a:gd name="connsiteX3" fmla="*/ 7151 w 249779"/>
                <a:gd name="connsiteY3" fmla="*/ 41690 h 249779"/>
                <a:gd name="connsiteX4" fmla="*/ 7151 w 249779"/>
                <a:gd name="connsiteY4" fmla="*/ 7151 h 249779"/>
                <a:gd name="connsiteX5" fmla="*/ 7151 w 249779"/>
                <a:gd name="connsiteY5" fmla="*/ 7151 h 249779"/>
                <a:gd name="connsiteX6" fmla="*/ 41690 w 249779"/>
                <a:gd name="connsiteY6" fmla="*/ 7151 h 249779"/>
                <a:gd name="connsiteX7" fmla="*/ 242629 w 249779"/>
                <a:gd name="connsiteY7" fmla="*/ 208090 h 249779"/>
                <a:gd name="connsiteX8" fmla="*/ 242629 w 249779"/>
                <a:gd name="connsiteY8" fmla="*/ 242629 h 249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79" h="249779">
                  <a:moveTo>
                    <a:pt x="242629" y="242629"/>
                  </a:moveTo>
                  <a:lnTo>
                    <a:pt x="242629" y="242629"/>
                  </a:lnTo>
                  <a:cubicBezTo>
                    <a:pt x="233095" y="252164"/>
                    <a:pt x="217624" y="252164"/>
                    <a:pt x="208090" y="242629"/>
                  </a:cubicBezTo>
                  <a:lnTo>
                    <a:pt x="7151" y="41690"/>
                  </a:lnTo>
                  <a:cubicBezTo>
                    <a:pt x="-2384" y="32155"/>
                    <a:pt x="-2384" y="16685"/>
                    <a:pt x="7151" y="7151"/>
                  </a:cubicBezTo>
                  <a:lnTo>
                    <a:pt x="7151" y="7151"/>
                  </a:lnTo>
                  <a:cubicBezTo>
                    <a:pt x="16685" y="-2384"/>
                    <a:pt x="32156" y="-2384"/>
                    <a:pt x="41690" y="7151"/>
                  </a:cubicBezTo>
                  <a:lnTo>
                    <a:pt x="242629" y="208090"/>
                  </a:lnTo>
                  <a:cubicBezTo>
                    <a:pt x="252164" y="217624"/>
                    <a:pt x="252164" y="233095"/>
                    <a:pt x="242629"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29">
              <a:extLst>
                <a:ext uri="{FF2B5EF4-FFF2-40B4-BE49-F238E27FC236}">
                  <a16:creationId xmlns:a16="http://schemas.microsoft.com/office/drawing/2014/main" id="{87CD9414-5142-13EF-E3CD-4645DAD3816E}"/>
                </a:ext>
              </a:extLst>
            </p:cNvPr>
            <p:cNvSpPr/>
            <p:nvPr/>
          </p:nvSpPr>
          <p:spPr>
            <a:xfrm flipH="1">
              <a:off x="4852676" y="4977522"/>
              <a:ext cx="867978" cy="867979"/>
            </a:xfrm>
            <a:custGeom>
              <a:avLst/>
              <a:gdLst>
                <a:gd name="connsiteX0" fmla="*/ 855836 w 867978"/>
                <a:gd name="connsiteY0" fmla="*/ 855836 h 867979"/>
                <a:gd name="connsiteX1" fmla="*/ 855836 w 867978"/>
                <a:gd name="connsiteY1" fmla="*/ 855836 h 867979"/>
                <a:gd name="connsiteX2" fmla="*/ 797551 w 867978"/>
                <a:gd name="connsiteY2" fmla="*/ 855836 h 867979"/>
                <a:gd name="connsiteX3" fmla="*/ 12143 w 867978"/>
                <a:gd name="connsiteY3" fmla="*/ 70427 h 867979"/>
                <a:gd name="connsiteX4" fmla="*/ 12143 w 867978"/>
                <a:gd name="connsiteY4" fmla="*/ 12143 h 867979"/>
                <a:gd name="connsiteX5" fmla="*/ 12143 w 867978"/>
                <a:gd name="connsiteY5" fmla="*/ 12143 h 867979"/>
                <a:gd name="connsiteX6" fmla="*/ 70427 w 867978"/>
                <a:gd name="connsiteY6" fmla="*/ 12143 h 867979"/>
                <a:gd name="connsiteX7" fmla="*/ 855836 w 867978"/>
                <a:gd name="connsiteY7" fmla="*/ 797551 h 867979"/>
                <a:gd name="connsiteX8" fmla="*/ 855836 w 867978"/>
                <a:gd name="connsiteY8" fmla="*/ 855836 h 86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978" h="867979">
                  <a:moveTo>
                    <a:pt x="855836" y="855836"/>
                  </a:moveTo>
                  <a:lnTo>
                    <a:pt x="855836" y="855836"/>
                  </a:lnTo>
                  <a:cubicBezTo>
                    <a:pt x="839646" y="872027"/>
                    <a:pt x="813561" y="872027"/>
                    <a:pt x="797551" y="855836"/>
                  </a:cubicBezTo>
                  <a:lnTo>
                    <a:pt x="12143" y="70427"/>
                  </a:lnTo>
                  <a:cubicBezTo>
                    <a:pt x="-4048" y="54237"/>
                    <a:pt x="-4048" y="28153"/>
                    <a:pt x="12143" y="12143"/>
                  </a:cubicBezTo>
                  <a:lnTo>
                    <a:pt x="12143" y="12143"/>
                  </a:lnTo>
                  <a:cubicBezTo>
                    <a:pt x="28333" y="-4048"/>
                    <a:pt x="54417" y="-4048"/>
                    <a:pt x="70427" y="12143"/>
                  </a:cubicBezTo>
                  <a:lnTo>
                    <a:pt x="855836" y="797551"/>
                  </a:lnTo>
                  <a:cubicBezTo>
                    <a:pt x="872026" y="813742"/>
                    <a:pt x="872026" y="839826"/>
                    <a:pt x="855836" y="85583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30">
              <a:extLst>
                <a:ext uri="{FF2B5EF4-FFF2-40B4-BE49-F238E27FC236}">
                  <a16:creationId xmlns:a16="http://schemas.microsoft.com/office/drawing/2014/main" id="{FE0CDECF-8DDB-B236-F2E9-42EC0D031DFC}"/>
                </a:ext>
              </a:extLst>
            </p:cNvPr>
            <p:cNvSpPr/>
            <p:nvPr/>
          </p:nvSpPr>
          <p:spPr>
            <a:xfrm flipH="1">
              <a:off x="8981872" y="456610"/>
              <a:ext cx="249780" cy="249780"/>
            </a:xfrm>
            <a:custGeom>
              <a:avLst/>
              <a:gdLst>
                <a:gd name="connsiteX0" fmla="*/ 242630 w 249780"/>
                <a:gd name="connsiteY0" fmla="*/ 242629 h 249780"/>
                <a:gd name="connsiteX1" fmla="*/ 242630 w 249780"/>
                <a:gd name="connsiteY1" fmla="*/ 242629 h 249780"/>
                <a:gd name="connsiteX2" fmla="*/ 208090 w 249780"/>
                <a:gd name="connsiteY2" fmla="*/ 242629 h 249780"/>
                <a:gd name="connsiteX3" fmla="*/ 7151 w 249780"/>
                <a:gd name="connsiteY3" fmla="*/ 41690 h 249780"/>
                <a:gd name="connsiteX4" fmla="*/ 7151 w 249780"/>
                <a:gd name="connsiteY4" fmla="*/ 7151 h 249780"/>
                <a:gd name="connsiteX5" fmla="*/ 7151 w 249780"/>
                <a:gd name="connsiteY5" fmla="*/ 7151 h 249780"/>
                <a:gd name="connsiteX6" fmla="*/ 41690 w 249780"/>
                <a:gd name="connsiteY6" fmla="*/ 7151 h 249780"/>
                <a:gd name="connsiteX7" fmla="*/ 242630 w 249780"/>
                <a:gd name="connsiteY7" fmla="*/ 208090 h 249780"/>
                <a:gd name="connsiteX8" fmla="*/ 242630 w 249780"/>
                <a:gd name="connsiteY8" fmla="*/ 242629 h 249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80" h="249780">
                  <a:moveTo>
                    <a:pt x="242630" y="242629"/>
                  </a:moveTo>
                  <a:lnTo>
                    <a:pt x="242630" y="242629"/>
                  </a:lnTo>
                  <a:cubicBezTo>
                    <a:pt x="233095" y="252164"/>
                    <a:pt x="217625" y="252164"/>
                    <a:pt x="208090" y="242629"/>
                  </a:cubicBezTo>
                  <a:lnTo>
                    <a:pt x="7151" y="41690"/>
                  </a:lnTo>
                  <a:cubicBezTo>
                    <a:pt x="-2384" y="32156"/>
                    <a:pt x="-2384" y="16685"/>
                    <a:pt x="7151" y="7151"/>
                  </a:cubicBezTo>
                  <a:lnTo>
                    <a:pt x="7151" y="7151"/>
                  </a:lnTo>
                  <a:cubicBezTo>
                    <a:pt x="16685" y="-2384"/>
                    <a:pt x="32156" y="-2384"/>
                    <a:pt x="41690" y="7151"/>
                  </a:cubicBezTo>
                  <a:lnTo>
                    <a:pt x="242630" y="208090"/>
                  </a:lnTo>
                  <a:cubicBezTo>
                    <a:pt x="252164" y="217624"/>
                    <a:pt x="252164" y="233095"/>
                    <a:pt x="242630" y="242629"/>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31">
              <a:extLst>
                <a:ext uri="{FF2B5EF4-FFF2-40B4-BE49-F238E27FC236}">
                  <a16:creationId xmlns:a16="http://schemas.microsoft.com/office/drawing/2014/main" id="{E6642546-E8B5-E01E-8102-4B8BBF87CF43}"/>
                </a:ext>
              </a:extLst>
            </p:cNvPr>
            <p:cNvSpPr/>
            <p:nvPr/>
          </p:nvSpPr>
          <p:spPr>
            <a:xfrm flipH="1">
              <a:off x="11561345" y="648510"/>
              <a:ext cx="620222" cy="662182"/>
            </a:xfrm>
            <a:custGeom>
              <a:avLst/>
              <a:gdLst>
                <a:gd name="connsiteX0" fmla="*/ 611453 w 620222"/>
                <a:gd name="connsiteY0" fmla="*/ 653548 h 662182"/>
                <a:gd name="connsiteX1" fmla="*/ 569538 w 620222"/>
                <a:gd name="connsiteY1" fmla="*/ 653548 h 662182"/>
                <a:gd name="connsiteX2" fmla="*/ 0 w 620222"/>
                <a:gd name="connsiteY2" fmla="*/ 83830 h 662182"/>
                <a:gd name="connsiteX3" fmla="*/ 0 w 620222"/>
                <a:gd name="connsiteY3" fmla="*/ 0 h 662182"/>
                <a:gd name="connsiteX4" fmla="*/ 611453 w 620222"/>
                <a:gd name="connsiteY4" fmla="*/ 611453 h 662182"/>
                <a:gd name="connsiteX5" fmla="*/ 611453 w 620222"/>
                <a:gd name="connsiteY5" fmla="*/ 653548 h 6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0222" h="662182">
                  <a:moveTo>
                    <a:pt x="611453" y="653548"/>
                  </a:moveTo>
                  <a:cubicBezTo>
                    <a:pt x="599940" y="665061"/>
                    <a:pt x="581051" y="665061"/>
                    <a:pt x="569538" y="653548"/>
                  </a:cubicBezTo>
                  <a:lnTo>
                    <a:pt x="0" y="83830"/>
                  </a:lnTo>
                  <a:lnTo>
                    <a:pt x="0" y="0"/>
                  </a:lnTo>
                  <a:lnTo>
                    <a:pt x="611453" y="611453"/>
                  </a:lnTo>
                  <a:cubicBezTo>
                    <a:pt x="623146" y="623146"/>
                    <a:pt x="623146" y="641855"/>
                    <a:pt x="611453" y="653548"/>
                  </a:cubicBezTo>
                  <a:close/>
                </a:path>
              </a:pathLst>
            </a:custGeom>
            <a:solidFill>
              <a:srgbClr val="FFFFFF"/>
            </a:soli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32">
              <a:extLst>
                <a:ext uri="{FF2B5EF4-FFF2-40B4-BE49-F238E27FC236}">
                  <a16:creationId xmlns:a16="http://schemas.microsoft.com/office/drawing/2014/main" id="{7F0A24E1-B2CF-AA3D-450F-7AA0BD3F0CF9}"/>
                </a:ext>
              </a:extLst>
            </p:cNvPr>
            <p:cNvSpPr/>
            <p:nvPr/>
          </p:nvSpPr>
          <p:spPr>
            <a:xfrm flipH="1">
              <a:off x="7172474" y="5268138"/>
              <a:ext cx="1863290" cy="1646911"/>
            </a:xfrm>
            <a:custGeom>
              <a:avLst/>
              <a:gdLst>
                <a:gd name="connsiteX0" fmla="*/ 1863291 w 1863290"/>
                <a:gd name="connsiteY0" fmla="*/ 1646911 h 1646911"/>
                <a:gd name="connsiteX1" fmla="*/ 1430291 w 1863290"/>
                <a:gd name="connsiteY1" fmla="*/ 1646911 h 1646911"/>
                <a:gd name="connsiteX2" fmla="*/ 44942 w 1863290"/>
                <a:gd name="connsiteY2" fmla="*/ 261563 h 1646911"/>
                <a:gd name="connsiteX3" fmla="*/ 28932 w 1863290"/>
                <a:gd name="connsiteY3" fmla="*/ 63861 h 1646911"/>
                <a:gd name="connsiteX4" fmla="*/ 44942 w 1863290"/>
                <a:gd name="connsiteY4" fmla="*/ 44973 h 1646911"/>
                <a:gd name="connsiteX5" fmla="*/ 153058 w 1863290"/>
                <a:gd name="connsiteY5" fmla="*/ 0 h 1646911"/>
                <a:gd name="connsiteX6" fmla="*/ 261352 w 1863290"/>
                <a:gd name="connsiteY6" fmla="*/ 44973 h 1646911"/>
                <a:gd name="connsiteX7" fmla="*/ 1209563 w 1863290"/>
                <a:gd name="connsiteY7" fmla="*/ 993184 h 1646911"/>
                <a:gd name="connsiteX8" fmla="*/ 1863291 w 1863290"/>
                <a:gd name="connsiteY8" fmla="*/ 1646911 h 1646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290" h="1646911">
                  <a:moveTo>
                    <a:pt x="1863291" y="1646911"/>
                  </a:moveTo>
                  <a:lnTo>
                    <a:pt x="1430291" y="1646911"/>
                  </a:lnTo>
                  <a:lnTo>
                    <a:pt x="44942" y="261563"/>
                  </a:lnTo>
                  <a:cubicBezTo>
                    <a:pt x="-9025" y="207596"/>
                    <a:pt x="-14422" y="123586"/>
                    <a:pt x="28932" y="63861"/>
                  </a:cubicBezTo>
                  <a:cubicBezTo>
                    <a:pt x="33609" y="57206"/>
                    <a:pt x="39006" y="50909"/>
                    <a:pt x="44942" y="44973"/>
                  </a:cubicBezTo>
                  <a:cubicBezTo>
                    <a:pt x="74804" y="15111"/>
                    <a:pt x="114021" y="0"/>
                    <a:pt x="153058" y="0"/>
                  </a:cubicBezTo>
                  <a:cubicBezTo>
                    <a:pt x="192094" y="0"/>
                    <a:pt x="231490" y="15111"/>
                    <a:pt x="261352" y="44973"/>
                  </a:cubicBezTo>
                  <a:lnTo>
                    <a:pt x="1209563" y="993184"/>
                  </a:lnTo>
                  <a:lnTo>
                    <a:pt x="1863291" y="1646911"/>
                  </a:ln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23" name="Freeform: Shape 33">
              <a:extLst>
                <a:ext uri="{FF2B5EF4-FFF2-40B4-BE49-F238E27FC236}">
                  <a16:creationId xmlns:a16="http://schemas.microsoft.com/office/drawing/2014/main" id="{70E75DE8-AEF2-633C-2CBC-DFF8F0F7FE58}"/>
                </a:ext>
              </a:extLst>
            </p:cNvPr>
            <p:cNvSpPr/>
            <p:nvPr/>
          </p:nvSpPr>
          <p:spPr>
            <a:xfrm rot="802202" flipH="1">
              <a:off x="7592049" y="1923832"/>
              <a:ext cx="541475" cy="541475"/>
            </a:xfrm>
            <a:custGeom>
              <a:avLst/>
              <a:gdLst>
                <a:gd name="connsiteX0" fmla="*/ 541475 w 541475"/>
                <a:gd name="connsiteY0" fmla="*/ 270737 h 541475"/>
                <a:gd name="connsiteX1" fmla="*/ 270738 w 541475"/>
                <a:gd name="connsiteY1" fmla="*/ 541475 h 541475"/>
                <a:gd name="connsiteX2" fmla="*/ 0 w 541475"/>
                <a:gd name="connsiteY2" fmla="*/ 270737 h 541475"/>
                <a:gd name="connsiteX3" fmla="*/ 270738 w 541475"/>
                <a:gd name="connsiteY3" fmla="*/ 0 h 541475"/>
                <a:gd name="connsiteX4" fmla="*/ 541475 w 541475"/>
                <a:gd name="connsiteY4" fmla="*/ 270737 h 54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475" h="541475">
                  <a:moveTo>
                    <a:pt x="541475" y="270737"/>
                  </a:moveTo>
                  <a:cubicBezTo>
                    <a:pt x="541475" y="420262"/>
                    <a:pt x="420262" y="541475"/>
                    <a:pt x="270738" y="541475"/>
                  </a:cubicBezTo>
                  <a:cubicBezTo>
                    <a:pt x="121213" y="541475"/>
                    <a:pt x="0" y="420262"/>
                    <a:pt x="0" y="270737"/>
                  </a:cubicBezTo>
                  <a:cubicBezTo>
                    <a:pt x="0" y="121213"/>
                    <a:pt x="121213" y="0"/>
                    <a:pt x="270738" y="0"/>
                  </a:cubicBezTo>
                  <a:cubicBezTo>
                    <a:pt x="420262" y="0"/>
                    <a:pt x="541475" y="121213"/>
                    <a:pt x="541475" y="27073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34">
              <a:extLst>
                <a:ext uri="{FF2B5EF4-FFF2-40B4-BE49-F238E27FC236}">
                  <a16:creationId xmlns:a16="http://schemas.microsoft.com/office/drawing/2014/main" id="{2249F4FC-6490-CB8A-C13A-3F06DBD10C2C}"/>
                </a:ext>
              </a:extLst>
            </p:cNvPr>
            <p:cNvSpPr/>
            <p:nvPr/>
          </p:nvSpPr>
          <p:spPr>
            <a:xfrm flipH="1">
              <a:off x="10427440" y="1122166"/>
              <a:ext cx="751948" cy="751948"/>
            </a:xfrm>
            <a:custGeom>
              <a:avLst/>
              <a:gdLst>
                <a:gd name="connsiteX0" fmla="*/ 751949 w 751948"/>
                <a:gd name="connsiteY0" fmla="*/ 375974 h 751948"/>
                <a:gd name="connsiteX1" fmla="*/ 375974 w 751948"/>
                <a:gd name="connsiteY1" fmla="*/ 751949 h 751948"/>
                <a:gd name="connsiteX2" fmla="*/ 0 w 751948"/>
                <a:gd name="connsiteY2" fmla="*/ 375974 h 751948"/>
                <a:gd name="connsiteX3" fmla="*/ 375974 w 751948"/>
                <a:gd name="connsiteY3" fmla="*/ 0 h 751948"/>
                <a:gd name="connsiteX4" fmla="*/ 751949 w 751948"/>
                <a:gd name="connsiteY4" fmla="*/ 375974 h 751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948" h="751948">
                  <a:moveTo>
                    <a:pt x="751949" y="375974"/>
                  </a:moveTo>
                  <a:cubicBezTo>
                    <a:pt x="751949" y="583619"/>
                    <a:pt x="583619" y="751949"/>
                    <a:pt x="375974" y="751949"/>
                  </a:cubicBezTo>
                  <a:cubicBezTo>
                    <a:pt x="168329" y="751949"/>
                    <a:pt x="0" y="583619"/>
                    <a:pt x="0" y="375974"/>
                  </a:cubicBezTo>
                  <a:cubicBezTo>
                    <a:pt x="0" y="168330"/>
                    <a:pt x="168329" y="0"/>
                    <a:pt x="375974" y="0"/>
                  </a:cubicBezTo>
                  <a:cubicBezTo>
                    <a:pt x="583619" y="0"/>
                    <a:pt x="751949" y="168329"/>
                    <a:pt x="751949" y="375974"/>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35">
              <a:extLst>
                <a:ext uri="{FF2B5EF4-FFF2-40B4-BE49-F238E27FC236}">
                  <a16:creationId xmlns:a16="http://schemas.microsoft.com/office/drawing/2014/main" id="{129FE6D9-BFCD-64DE-89BE-C73A1B5B2C8C}"/>
                </a:ext>
              </a:extLst>
            </p:cNvPr>
            <p:cNvSpPr/>
            <p:nvPr/>
          </p:nvSpPr>
          <p:spPr>
            <a:xfrm flipH="1">
              <a:off x="8880548" y="3064460"/>
              <a:ext cx="2244333" cy="2244332"/>
            </a:xfrm>
            <a:custGeom>
              <a:avLst/>
              <a:gdLst>
                <a:gd name="connsiteX0" fmla="*/ 1121987 w 2244333"/>
                <a:gd name="connsiteY0" fmla="*/ 0 h 2244332"/>
                <a:gd name="connsiteX1" fmla="*/ 1076474 w 2244333"/>
                <a:gd name="connsiteY1" fmla="*/ 899 h 2244332"/>
                <a:gd name="connsiteX2" fmla="*/ 1076474 w 2244333"/>
                <a:gd name="connsiteY2" fmla="*/ 899 h 2244332"/>
                <a:gd name="connsiteX3" fmla="*/ 610733 w 2244333"/>
                <a:gd name="connsiteY3" fmla="*/ 122866 h 2244332"/>
                <a:gd name="connsiteX4" fmla="*/ 325605 w 2244333"/>
                <a:gd name="connsiteY4" fmla="*/ 331721 h 2244332"/>
                <a:gd name="connsiteX5" fmla="*/ 257425 w 2244333"/>
                <a:gd name="connsiteY5" fmla="*/ 406916 h 2244332"/>
                <a:gd name="connsiteX6" fmla="*/ 148231 w 2244333"/>
                <a:gd name="connsiteY6" fmla="*/ 564321 h 2244332"/>
                <a:gd name="connsiteX7" fmla="*/ 0 w 2244333"/>
                <a:gd name="connsiteY7" fmla="*/ 1122166 h 2244332"/>
                <a:gd name="connsiteX8" fmla="*/ 1122167 w 2244333"/>
                <a:gd name="connsiteY8" fmla="*/ 2244333 h 2244332"/>
                <a:gd name="connsiteX9" fmla="*/ 1621547 w 2244333"/>
                <a:gd name="connsiteY9" fmla="*/ 2127223 h 2244332"/>
                <a:gd name="connsiteX10" fmla="*/ 1621727 w 2244333"/>
                <a:gd name="connsiteY10" fmla="*/ 2127223 h 2244332"/>
                <a:gd name="connsiteX11" fmla="*/ 1837417 w 2244333"/>
                <a:gd name="connsiteY11" fmla="*/ 1986907 h 2244332"/>
                <a:gd name="connsiteX12" fmla="*/ 1931141 w 2244333"/>
                <a:gd name="connsiteY12" fmla="*/ 1900020 h 2244332"/>
                <a:gd name="connsiteX13" fmla="*/ 2121467 w 2244333"/>
                <a:gd name="connsiteY13" fmla="*/ 1633600 h 2244332"/>
                <a:gd name="connsiteX14" fmla="*/ 2243434 w 2244333"/>
                <a:gd name="connsiteY14" fmla="*/ 1167679 h 2244332"/>
                <a:gd name="connsiteX15" fmla="*/ 2244333 w 2244333"/>
                <a:gd name="connsiteY15" fmla="*/ 1122166 h 2244332"/>
                <a:gd name="connsiteX16" fmla="*/ 1122167 w 2244333"/>
                <a:gd name="connsiteY16" fmla="*/ 0 h 2244332"/>
                <a:gd name="connsiteX17" fmla="*/ 2152768 w 2244333"/>
                <a:gd name="connsiteY17" fmla="*/ 1122166 h 2244332"/>
                <a:gd name="connsiteX18" fmla="*/ 2052928 w 2244333"/>
                <a:gd name="connsiteY18" fmla="*/ 1565240 h 2244332"/>
                <a:gd name="connsiteX19" fmla="*/ 1853787 w 2244333"/>
                <a:gd name="connsiteY19" fmla="*/ 1848031 h 2244332"/>
                <a:gd name="connsiteX20" fmla="*/ 1772296 w 2244333"/>
                <a:gd name="connsiteY20" fmla="*/ 1921966 h 2244332"/>
                <a:gd name="connsiteX21" fmla="*/ 1561823 w 2244333"/>
                <a:gd name="connsiteY21" fmla="*/ 2054727 h 2244332"/>
                <a:gd name="connsiteX22" fmla="*/ 1121987 w 2244333"/>
                <a:gd name="connsiteY22" fmla="*/ 2152948 h 2244332"/>
                <a:gd name="connsiteX23" fmla="*/ 91205 w 2244333"/>
                <a:gd name="connsiteY23" fmla="*/ 1122166 h 2244332"/>
                <a:gd name="connsiteX24" fmla="*/ 216950 w 2244333"/>
                <a:gd name="connsiteY24" fmla="*/ 628723 h 2244332"/>
                <a:gd name="connsiteX25" fmla="*/ 322187 w 2244333"/>
                <a:gd name="connsiteY25" fmla="*/ 471857 h 2244332"/>
                <a:gd name="connsiteX26" fmla="*/ 390186 w 2244333"/>
                <a:gd name="connsiteY26" fmla="*/ 396482 h 2244332"/>
                <a:gd name="connsiteX27" fmla="*/ 678913 w 2244333"/>
                <a:gd name="connsiteY27" fmla="*/ 191225 h 2244332"/>
                <a:gd name="connsiteX28" fmla="*/ 1121987 w 2244333"/>
                <a:gd name="connsiteY28" fmla="*/ 91385 h 2244332"/>
                <a:gd name="connsiteX29" fmla="*/ 1167859 w 2244333"/>
                <a:gd name="connsiteY29" fmla="*/ 92464 h 2244332"/>
                <a:gd name="connsiteX30" fmla="*/ 2151689 w 2244333"/>
                <a:gd name="connsiteY30" fmla="*/ 1076114 h 2244332"/>
                <a:gd name="connsiteX31" fmla="*/ 2151689 w 2244333"/>
                <a:gd name="connsiteY31" fmla="*/ 1076114 h 2244332"/>
                <a:gd name="connsiteX32" fmla="*/ 2152768 w 2244333"/>
                <a:gd name="connsiteY32" fmla="*/ 1122166 h 2244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44333" h="2244332">
                  <a:moveTo>
                    <a:pt x="1121987" y="0"/>
                  </a:moveTo>
                  <a:cubicBezTo>
                    <a:pt x="1106696" y="0"/>
                    <a:pt x="1091585" y="360"/>
                    <a:pt x="1076474" y="899"/>
                  </a:cubicBezTo>
                  <a:lnTo>
                    <a:pt x="1076474" y="899"/>
                  </a:lnTo>
                  <a:cubicBezTo>
                    <a:pt x="909174" y="7555"/>
                    <a:pt x="751409" y="50909"/>
                    <a:pt x="610733" y="122866"/>
                  </a:cubicBezTo>
                  <a:cubicBezTo>
                    <a:pt x="504777" y="177374"/>
                    <a:pt x="408715" y="248071"/>
                    <a:pt x="325605" y="331721"/>
                  </a:cubicBezTo>
                  <a:cubicBezTo>
                    <a:pt x="301859" y="355646"/>
                    <a:pt x="279013" y="380831"/>
                    <a:pt x="257425" y="406916"/>
                  </a:cubicBezTo>
                  <a:cubicBezTo>
                    <a:pt x="216770" y="456026"/>
                    <a:pt x="180252" y="508735"/>
                    <a:pt x="148231" y="564321"/>
                  </a:cubicBezTo>
                  <a:cubicBezTo>
                    <a:pt x="53968" y="728743"/>
                    <a:pt x="0" y="919248"/>
                    <a:pt x="0" y="1122166"/>
                  </a:cubicBezTo>
                  <a:cubicBezTo>
                    <a:pt x="0" y="1741894"/>
                    <a:pt x="502438" y="2244333"/>
                    <a:pt x="1122167" y="2244333"/>
                  </a:cubicBezTo>
                  <a:cubicBezTo>
                    <a:pt x="1301699" y="2244333"/>
                    <a:pt x="1471157" y="2202238"/>
                    <a:pt x="1621547" y="2127223"/>
                  </a:cubicBezTo>
                  <a:lnTo>
                    <a:pt x="1621727" y="2127223"/>
                  </a:lnTo>
                  <a:cubicBezTo>
                    <a:pt x="1699080" y="2088726"/>
                    <a:pt x="1771397" y="2041595"/>
                    <a:pt x="1837417" y="1986907"/>
                  </a:cubicBezTo>
                  <a:cubicBezTo>
                    <a:pt x="1870158" y="1959744"/>
                    <a:pt x="1901459" y="1930781"/>
                    <a:pt x="1931141" y="1900020"/>
                  </a:cubicBezTo>
                  <a:cubicBezTo>
                    <a:pt x="2006696" y="1821407"/>
                    <a:pt x="2071097" y="1731640"/>
                    <a:pt x="2121467" y="1633600"/>
                  </a:cubicBezTo>
                  <a:cubicBezTo>
                    <a:pt x="2193424" y="1492924"/>
                    <a:pt x="2236778" y="1334979"/>
                    <a:pt x="2243434" y="1167679"/>
                  </a:cubicBezTo>
                  <a:cubicBezTo>
                    <a:pt x="2243973" y="1152568"/>
                    <a:pt x="2244333" y="1137457"/>
                    <a:pt x="2244333" y="1122166"/>
                  </a:cubicBezTo>
                  <a:cubicBezTo>
                    <a:pt x="2244333" y="502438"/>
                    <a:pt x="1741895" y="0"/>
                    <a:pt x="1122167" y="0"/>
                  </a:cubicBezTo>
                  <a:close/>
                  <a:moveTo>
                    <a:pt x="2152768" y="1122166"/>
                  </a:moveTo>
                  <a:cubicBezTo>
                    <a:pt x="2152768" y="1280831"/>
                    <a:pt x="2116970" y="1431041"/>
                    <a:pt x="2052928" y="1565240"/>
                  </a:cubicBezTo>
                  <a:cubicBezTo>
                    <a:pt x="2002738" y="1670477"/>
                    <a:pt x="1935099" y="1766000"/>
                    <a:pt x="1853787" y="1848031"/>
                  </a:cubicBezTo>
                  <a:cubicBezTo>
                    <a:pt x="1828063" y="1874115"/>
                    <a:pt x="1800899" y="1898760"/>
                    <a:pt x="1772296" y="1921966"/>
                  </a:cubicBezTo>
                  <a:cubicBezTo>
                    <a:pt x="1708075" y="1974135"/>
                    <a:pt x="1637557" y="2018928"/>
                    <a:pt x="1561823" y="2054727"/>
                  </a:cubicBezTo>
                  <a:cubicBezTo>
                    <a:pt x="1428523" y="2117689"/>
                    <a:pt x="1279392" y="2152948"/>
                    <a:pt x="1121987" y="2152948"/>
                  </a:cubicBezTo>
                  <a:cubicBezTo>
                    <a:pt x="552808" y="2152948"/>
                    <a:pt x="91205" y="1691345"/>
                    <a:pt x="91205" y="1122166"/>
                  </a:cubicBezTo>
                  <a:cubicBezTo>
                    <a:pt x="91205" y="943354"/>
                    <a:pt x="136718" y="775155"/>
                    <a:pt x="216950" y="628723"/>
                  </a:cubicBezTo>
                  <a:cubicBezTo>
                    <a:pt x="247172" y="573136"/>
                    <a:pt x="282610" y="520607"/>
                    <a:pt x="322187" y="471857"/>
                  </a:cubicBezTo>
                  <a:cubicBezTo>
                    <a:pt x="343594" y="445592"/>
                    <a:pt x="366260" y="420408"/>
                    <a:pt x="390186" y="396482"/>
                  </a:cubicBezTo>
                  <a:cubicBezTo>
                    <a:pt x="473296" y="312472"/>
                    <a:pt x="570977" y="242674"/>
                    <a:pt x="678913" y="191225"/>
                  </a:cubicBezTo>
                  <a:cubicBezTo>
                    <a:pt x="813112" y="127184"/>
                    <a:pt x="963322" y="91385"/>
                    <a:pt x="1121987" y="91385"/>
                  </a:cubicBezTo>
                  <a:cubicBezTo>
                    <a:pt x="1137278" y="91385"/>
                    <a:pt x="1152748" y="91745"/>
                    <a:pt x="1167859" y="92464"/>
                  </a:cubicBezTo>
                  <a:cubicBezTo>
                    <a:pt x="1700699" y="115670"/>
                    <a:pt x="2128303" y="543274"/>
                    <a:pt x="2151689" y="1076114"/>
                  </a:cubicBezTo>
                  <a:lnTo>
                    <a:pt x="2151689" y="1076114"/>
                  </a:lnTo>
                  <a:cubicBezTo>
                    <a:pt x="2152408" y="1091585"/>
                    <a:pt x="2152768" y="1106876"/>
                    <a:pt x="2152768" y="1122166"/>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36">
              <a:extLst>
                <a:ext uri="{FF2B5EF4-FFF2-40B4-BE49-F238E27FC236}">
                  <a16:creationId xmlns:a16="http://schemas.microsoft.com/office/drawing/2014/main" id="{C2DB5FEE-FF58-036D-7E4E-1E6261434FB6}"/>
                </a:ext>
              </a:extLst>
            </p:cNvPr>
            <p:cNvSpPr/>
            <p:nvPr/>
          </p:nvSpPr>
          <p:spPr>
            <a:xfrm flipH="1">
              <a:off x="9154164" y="3337896"/>
              <a:ext cx="1697461" cy="1697461"/>
            </a:xfrm>
            <a:custGeom>
              <a:avLst/>
              <a:gdLst>
                <a:gd name="connsiteX0" fmla="*/ 1653208 w 1697461"/>
                <a:gd name="connsiteY0" fmla="*/ 577633 h 1697461"/>
                <a:gd name="connsiteX1" fmla="*/ 1653208 w 1697461"/>
                <a:gd name="connsiteY1" fmla="*/ 577633 h 1697461"/>
                <a:gd name="connsiteX2" fmla="*/ 1119828 w 1697461"/>
                <a:gd name="connsiteY2" fmla="*/ 44253 h 1697461"/>
                <a:gd name="connsiteX3" fmla="*/ 848731 w 1697461"/>
                <a:gd name="connsiteY3" fmla="*/ 0 h 1697461"/>
                <a:gd name="connsiteX4" fmla="*/ 544173 w 1697461"/>
                <a:gd name="connsiteY4" fmla="*/ 56306 h 1697461"/>
                <a:gd name="connsiteX5" fmla="*/ 245553 w 1697461"/>
                <a:gd name="connsiteY5" fmla="*/ 251669 h 1697461"/>
                <a:gd name="connsiteX6" fmla="*/ 178453 w 1697461"/>
                <a:gd name="connsiteY6" fmla="*/ 327943 h 1697461"/>
                <a:gd name="connsiteX7" fmla="*/ 81311 w 1697461"/>
                <a:gd name="connsiteY7" fmla="*/ 485709 h 1697461"/>
                <a:gd name="connsiteX8" fmla="*/ 0 w 1697461"/>
                <a:gd name="connsiteY8" fmla="*/ 848731 h 1697461"/>
                <a:gd name="connsiteX9" fmla="*/ 848731 w 1697461"/>
                <a:gd name="connsiteY9" fmla="*/ 1697461 h 1697461"/>
                <a:gd name="connsiteX10" fmla="*/ 1166600 w 1697461"/>
                <a:gd name="connsiteY10" fmla="*/ 1635938 h 1697461"/>
                <a:gd name="connsiteX11" fmla="*/ 1369518 w 1697461"/>
                <a:gd name="connsiteY11" fmla="*/ 1519008 h 1697461"/>
                <a:gd name="connsiteX12" fmla="*/ 1445792 w 1697461"/>
                <a:gd name="connsiteY12" fmla="*/ 1451909 h 1697461"/>
                <a:gd name="connsiteX13" fmla="*/ 1641155 w 1697461"/>
                <a:gd name="connsiteY13" fmla="*/ 1153288 h 1697461"/>
                <a:gd name="connsiteX14" fmla="*/ 1697461 w 1697461"/>
                <a:gd name="connsiteY14" fmla="*/ 848731 h 1697461"/>
                <a:gd name="connsiteX15" fmla="*/ 1653208 w 1697461"/>
                <a:gd name="connsiteY15" fmla="*/ 577633 h 1697461"/>
                <a:gd name="connsiteX16" fmla="*/ 1377254 w 1697461"/>
                <a:gd name="connsiteY16" fmla="*/ 1383370 h 1697461"/>
                <a:gd name="connsiteX17" fmla="*/ 1300440 w 1697461"/>
                <a:gd name="connsiteY17" fmla="*/ 1449750 h 1697461"/>
                <a:gd name="connsiteX18" fmla="*/ 1099500 w 1697461"/>
                <a:gd name="connsiteY18" fmla="*/ 1557505 h 1697461"/>
                <a:gd name="connsiteX19" fmla="*/ 848731 w 1697461"/>
                <a:gd name="connsiteY19" fmla="*/ 1600499 h 1697461"/>
                <a:gd name="connsiteX20" fmla="*/ 96962 w 1697461"/>
                <a:gd name="connsiteY20" fmla="*/ 848731 h 1697461"/>
                <a:gd name="connsiteX21" fmla="*/ 155427 w 1697461"/>
                <a:gd name="connsiteY21" fmla="*/ 557485 h 1697461"/>
                <a:gd name="connsiteX22" fmla="*/ 247531 w 1697461"/>
                <a:gd name="connsiteY22" fmla="*/ 397022 h 1697461"/>
                <a:gd name="connsiteX23" fmla="*/ 314091 w 1697461"/>
                <a:gd name="connsiteY23" fmla="*/ 320208 h 1697461"/>
                <a:gd name="connsiteX24" fmla="*/ 620088 w 1697461"/>
                <a:gd name="connsiteY24" fmla="*/ 132220 h 1697461"/>
                <a:gd name="connsiteX25" fmla="*/ 848731 w 1697461"/>
                <a:gd name="connsiteY25" fmla="*/ 96782 h 1697461"/>
                <a:gd name="connsiteX26" fmla="*/ 1600679 w 1697461"/>
                <a:gd name="connsiteY26" fmla="*/ 848731 h 1697461"/>
                <a:gd name="connsiteX27" fmla="*/ 1565241 w 1697461"/>
                <a:gd name="connsiteY27" fmla="*/ 1077373 h 1697461"/>
                <a:gd name="connsiteX28" fmla="*/ 1377254 w 1697461"/>
                <a:gd name="connsiteY28" fmla="*/ 1383370 h 169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97461" h="1697461">
                  <a:moveTo>
                    <a:pt x="1653208" y="577633"/>
                  </a:moveTo>
                  <a:lnTo>
                    <a:pt x="1653208" y="577633"/>
                  </a:lnTo>
                  <a:cubicBezTo>
                    <a:pt x="1568659" y="326864"/>
                    <a:pt x="1370418" y="128623"/>
                    <a:pt x="1119828" y="44253"/>
                  </a:cubicBezTo>
                  <a:cubicBezTo>
                    <a:pt x="1034739" y="15471"/>
                    <a:pt x="943534" y="0"/>
                    <a:pt x="848731" y="0"/>
                  </a:cubicBezTo>
                  <a:cubicBezTo>
                    <a:pt x="741335" y="0"/>
                    <a:pt x="638617" y="19968"/>
                    <a:pt x="544173" y="56306"/>
                  </a:cubicBezTo>
                  <a:cubicBezTo>
                    <a:pt x="431021" y="99840"/>
                    <a:pt x="329382" y="166940"/>
                    <a:pt x="245553" y="251669"/>
                  </a:cubicBezTo>
                  <a:cubicBezTo>
                    <a:pt x="221807" y="275775"/>
                    <a:pt x="199320" y="301139"/>
                    <a:pt x="178453" y="327943"/>
                  </a:cubicBezTo>
                  <a:cubicBezTo>
                    <a:pt x="140676" y="376514"/>
                    <a:pt x="107935" y="429402"/>
                    <a:pt x="81311" y="485709"/>
                  </a:cubicBezTo>
                  <a:cubicBezTo>
                    <a:pt x="29142" y="595802"/>
                    <a:pt x="0" y="718848"/>
                    <a:pt x="0" y="848731"/>
                  </a:cubicBezTo>
                  <a:cubicBezTo>
                    <a:pt x="0" y="1317349"/>
                    <a:pt x="380112" y="1697461"/>
                    <a:pt x="848731" y="1697461"/>
                  </a:cubicBezTo>
                  <a:cubicBezTo>
                    <a:pt x="961163" y="1697461"/>
                    <a:pt x="1068379" y="1675694"/>
                    <a:pt x="1166600" y="1635938"/>
                  </a:cubicBezTo>
                  <a:cubicBezTo>
                    <a:pt x="1239996" y="1606256"/>
                    <a:pt x="1308175" y="1566680"/>
                    <a:pt x="1369518" y="1519008"/>
                  </a:cubicBezTo>
                  <a:cubicBezTo>
                    <a:pt x="1396322" y="1498141"/>
                    <a:pt x="1421687" y="1475654"/>
                    <a:pt x="1445792" y="1451909"/>
                  </a:cubicBezTo>
                  <a:cubicBezTo>
                    <a:pt x="1530521" y="1368079"/>
                    <a:pt x="1597621" y="1266440"/>
                    <a:pt x="1641155" y="1153288"/>
                  </a:cubicBezTo>
                  <a:cubicBezTo>
                    <a:pt x="1677493" y="1058665"/>
                    <a:pt x="1697461" y="955946"/>
                    <a:pt x="1697461" y="848731"/>
                  </a:cubicBezTo>
                  <a:cubicBezTo>
                    <a:pt x="1697461" y="753928"/>
                    <a:pt x="1681811" y="662722"/>
                    <a:pt x="1653208" y="577633"/>
                  </a:cubicBezTo>
                  <a:close/>
                  <a:moveTo>
                    <a:pt x="1377254" y="1383370"/>
                  </a:moveTo>
                  <a:cubicBezTo>
                    <a:pt x="1353148" y="1407115"/>
                    <a:pt x="1327603" y="1429242"/>
                    <a:pt x="1300440" y="1449750"/>
                  </a:cubicBezTo>
                  <a:cubicBezTo>
                    <a:pt x="1239996" y="1495263"/>
                    <a:pt x="1172356" y="1531960"/>
                    <a:pt x="1099500" y="1557505"/>
                  </a:cubicBezTo>
                  <a:cubicBezTo>
                    <a:pt x="1021067" y="1585388"/>
                    <a:pt x="936698" y="1600499"/>
                    <a:pt x="848731" y="1600499"/>
                  </a:cubicBezTo>
                  <a:cubicBezTo>
                    <a:pt x="433540" y="1600499"/>
                    <a:pt x="96962" y="1263921"/>
                    <a:pt x="96962" y="848731"/>
                  </a:cubicBezTo>
                  <a:cubicBezTo>
                    <a:pt x="96962" y="745473"/>
                    <a:pt x="117829" y="647072"/>
                    <a:pt x="155427" y="557485"/>
                  </a:cubicBezTo>
                  <a:cubicBezTo>
                    <a:pt x="179532" y="499920"/>
                    <a:pt x="210654" y="446132"/>
                    <a:pt x="247531" y="397022"/>
                  </a:cubicBezTo>
                  <a:cubicBezTo>
                    <a:pt x="268039" y="369858"/>
                    <a:pt x="290166" y="344133"/>
                    <a:pt x="314091" y="320208"/>
                  </a:cubicBezTo>
                  <a:cubicBezTo>
                    <a:pt x="398281" y="234759"/>
                    <a:pt x="502978" y="169458"/>
                    <a:pt x="620088" y="132220"/>
                  </a:cubicBezTo>
                  <a:cubicBezTo>
                    <a:pt x="692225" y="109194"/>
                    <a:pt x="769038" y="96782"/>
                    <a:pt x="848731" y="96782"/>
                  </a:cubicBezTo>
                  <a:cubicBezTo>
                    <a:pt x="1263922" y="96782"/>
                    <a:pt x="1600679" y="433360"/>
                    <a:pt x="1600679" y="848731"/>
                  </a:cubicBezTo>
                  <a:cubicBezTo>
                    <a:pt x="1600679" y="928423"/>
                    <a:pt x="1588267" y="1005237"/>
                    <a:pt x="1565241" y="1077373"/>
                  </a:cubicBezTo>
                  <a:cubicBezTo>
                    <a:pt x="1528003" y="1194483"/>
                    <a:pt x="1462702" y="1299001"/>
                    <a:pt x="1377254" y="1383370"/>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37">
              <a:extLst>
                <a:ext uri="{FF2B5EF4-FFF2-40B4-BE49-F238E27FC236}">
                  <a16:creationId xmlns:a16="http://schemas.microsoft.com/office/drawing/2014/main" id="{BD33ABEC-59E7-FEE6-9BCA-68A835613E65}"/>
                </a:ext>
              </a:extLst>
            </p:cNvPr>
            <p:cNvSpPr/>
            <p:nvPr/>
          </p:nvSpPr>
          <p:spPr>
            <a:xfrm flipH="1">
              <a:off x="9467356" y="3651088"/>
              <a:ext cx="1070897" cy="1070896"/>
            </a:xfrm>
            <a:custGeom>
              <a:avLst/>
              <a:gdLst>
                <a:gd name="connsiteX0" fmla="*/ 535359 w 1070897"/>
                <a:gd name="connsiteY0" fmla="*/ 0 h 1070896"/>
                <a:gd name="connsiteX1" fmla="*/ 489666 w 1070897"/>
                <a:gd name="connsiteY1" fmla="*/ 1979 h 1070896"/>
                <a:gd name="connsiteX2" fmla="*/ 153628 w 1070897"/>
                <a:gd name="connsiteY2" fmla="*/ 159924 h 1070896"/>
                <a:gd name="connsiteX3" fmla="*/ 89586 w 1070897"/>
                <a:gd name="connsiteY3" fmla="*/ 239076 h 1070896"/>
                <a:gd name="connsiteX4" fmla="*/ 14032 w 1070897"/>
                <a:gd name="connsiteY4" fmla="*/ 413931 h 1070896"/>
                <a:gd name="connsiteX5" fmla="*/ 0 w 1070897"/>
                <a:gd name="connsiteY5" fmla="*/ 535538 h 1070896"/>
                <a:gd name="connsiteX6" fmla="*/ 535359 w 1070897"/>
                <a:gd name="connsiteY6" fmla="*/ 1070897 h 1070896"/>
                <a:gd name="connsiteX7" fmla="*/ 627104 w 1070897"/>
                <a:gd name="connsiteY7" fmla="*/ 1062982 h 1070896"/>
                <a:gd name="connsiteX8" fmla="*/ 831821 w 1070897"/>
                <a:gd name="connsiteY8" fmla="*/ 981311 h 1070896"/>
                <a:gd name="connsiteX9" fmla="*/ 910793 w 1070897"/>
                <a:gd name="connsiteY9" fmla="*/ 917090 h 1070896"/>
                <a:gd name="connsiteX10" fmla="*/ 1068919 w 1070897"/>
                <a:gd name="connsiteY10" fmla="*/ 581231 h 1070896"/>
                <a:gd name="connsiteX11" fmla="*/ 1070897 w 1070897"/>
                <a:gd name="connsiteY11" fmla="*/ 535538 h 1070896"/>
                <a:gd name="connsiteX12" fmla="*/ 535359 w 1070897"/>
                <a:gd name="connsiteY12" fmla="*/ 0 h 1070896"/>
                <a:gd name="connsiteX13" fmla="*/ 977713 w 1070897"/>
                <a:gd name="connsiteY13" fmla="*/ 535538 h 1070896"/>
                <a:gd name="connsiteX14" fmla="*/ 845133 w 1070897"/>
                <a:gd name="connsiteY14" fmla="*/ 851429 h 1070896"/>
                <a:gd name="connsiteX15" fmla="*/ 764361 w 1070897"/>
                <a:gd name="connsiteY15" fmla="*/ 914031 h 1070896"/>
                <a:gd name="connsiteX16" fmla="*/ 550110 w 1070897"/>
                <a:gd name="connsiteY16" fmla="*/ 977533 h 1070896"/>
                <a:gd name="connsiteX17" fmla="*/ 535359 w 1070897"/>
                <a:gd name="connsiteY17" fmla="*/ 977893 h 1070896"/>
                <a:gd name="connsiteX18" fmla="*/ 93004 w 1070897"/>
                <a:gd name="connsiteY18" fmla="*/ 535538 h 1070896"/>
                <a:gd name="connsiteX19" fmla="*/ 94983 w 1070897"/>
                <a:gd name="connsiteY19" fmla="*/ 495782 h 1070896"/>
                <a:gd name="connsiteX20" fmla="*/ 94983 w 1070897"/>
                <a:gd name="connsiteY20" fmla="*/ 495782 h 1070896"/>
                <a:gd name="connsiteX21" fmla="*/ 156866 w 1070897"/>
                <a:gd name="connsiteY21" fmla="*/ 306536 h 1070896"/>
                <a:gd name="connsiteX22" fmla="*/ 219468 w 1070897"/>
                <a:gd name="connsiteY22" fmla="*/ 225764 h 1070896"/>
                <a:gd name="connsiteX23" fmla="*/ 535359 w 1070897"/>
                <a:gd name="connsiteY23" fmla="*/ 93184 h 1070896"/>
                <a:gd name="connsiteX24" fmla="*/ 583570 w 1070897"/>
                <a:gd name="connsiteY24" fmla="*/ 95882 h 1070896"/>
                <a:gd name="connsiteX25" fmla="*/ 975015 w 1070897"/>
                <a:gd name="connsiteY25" fmla="*/ 487327 h 1070896"/>
                <a:gd name="connsiteX26" fmla="*/ 977713 w 1070897"/>
                <a:gd name="connsiteY26" fmla="*/ 535538 h 107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0897" h="1070896">
                  <a:moveTo>
                    <a:pt x="535359" y="0"/>
                  </a:moveTo>
                  <a:cubicBezTo>
                    <a:pt x="519888" y="0"/>
                    <a:pt x="504777" y="719"/>
                    <a:pt x="489666" y="1979"/>
                  </a:cubicBezTo>
                  <a:cubicBezTo>
                    <a:pt x="358525" y="12952"/>
                    <a:pt x="240875" y="71417"/>
                    <a:pt x="153628" y="159924"/>
                  </a:cubicBezTo>
                  <a:cubicBezTo>
                    <a:pt x="129882" y="184029"/>
                    <a:pt x="108295" y="210653"/>
                    <a:pt x="89586" y="239076"/>
                  </a:cubicBezTo>
                  <a:cubicBezTo>
                    <a:pt x="54507" y="291605"/>
                    <a:pt x="28603" y="350609"/>
                    <a:pt x="14032" y="413931"/>
                  </a:cubicBezTo>
                  <a:cubicBezTo>
                    <a:pt x="4857" y="452968"/>
                    <a:pt x="0" y="493624"/>
                    <a:pt x="0" y="535538"/>
                  </a:cubicBezTo>
                  <a:cubicBezTo>
                    <a:pt x="0" y="831281"/>
                    <a:pt x="239616" y="1070897"/>
                    <a:pt x="535359" y="1070897"/>
                  </a:cubicBezTo>
                  <a:cubicBezTo>
                    <a:pt x="566660" y="1070897"/>
                    <a:pt x="597421" y="1068199"/>
                    <a:pt x="627104" y="1062982"/>
                  </a:cubicBezTo>
                  <a:cubicBezTo>
                    <a:pt x="701939" y="1050210"/>
                    <a:pt x="771197" y="1021787"/>
                    <a:pt x="831821" y="981311"/>
                  </a:cubicBezTo>
                  <a:cubicBezTo>
                    <a:pt x="860244" y="962422"/>
                    <a:pt x="886688" y="941015"/>
                    <a:pt x="910793" y="917090"/>
                  </a:cubicBezTo>
                  <a:cubicBezTo>
                    <a:pt x="999480" y="830202"/>
                    <a:pt x="1057945" y="712372"/>
                    <a:pt x="1068919" y="581231"/>
                  </a:cubicBezTo>
                  <a:cubicBezTo>
                    <a:pt x="1070178" y="566120"/>
                    <a:pt x="1070897" y="551009"/>
                    <a:pt x="1070897" y="535538"/>
                  </a:cubicBezTo>
                  <a:cubicBezTo>
                    <a:pt x="1070897" y="239796"/>
                    <a:pt x="831101" y="0"/>
                    <a:pt x="535359" y="0"/>
                  </a:cubicBezTo>
                  <a:close/>
                  <a:moveTo>
                    <a:pt x="977713" y="535538"/>
                  </a:moveTo>
                  <a:cubicBezTo>
                    <a:pt x="977713" y="659124"/>
                    <a:pt x="926984" y="771017"/>
                    <a:pt x="845133" y="851429"/>
                  </a:cubicBezTo>
                  <a:cubicBezTo>
                    <a:pt x="820847" y="875175"/>
                    <a:pt x="793684" y="896402"/>
                    <a:pt x="764361" y="914031"/>
                  </a:cubicBezTo>
                  <a:cubicBezTo>
                    <a:pt x="701579" y="952168"/>
                    <a:pt x="628363" y="975015"/>
                    <a:pt x="550110" y="977533"/>
                  </a:cubicBezTo>
                  <a:cubicBezTo>
                    <a:pt x="545253" y="977893"/>
                    <a:pt x="540216" y="977893"/>
                    <a:pt x="535359" y="977893"/>
                  </a:cubicBezTo>
                  <a:cubicBezTo>
                    <a:pt x="291065" y="977893"/>
                    <a:pt x="93004" y="779832"/>
                    <a:pt x="93004" y="535538"/>
                  </a:cubicBezTo>
                  <a:cubicBezTo>
                    <a:pt x="93004" y="522046"/>
                    <a:pt x="93544" y="508914"/>
                    <a:pt x="94983" y="495782"/>
                  </a:cubicBezTo>
                  <a:lnTo>
                    <a:pt x="94983" y="495782"/>
                  </a:lnTo>
                  <a:cubicBezTo>
                    <a:pt x="100919" y="426704"/>
                    <a:pt x="122866" y="362482"/>
                    <a:pt x="156866" y="306536"/>
                  </a:cubicBezTo>
                  <a:cubicBezTo>
                    <a:pt x="174495" y="277213"/>
                    <a:pt x="195722" y="250050"/>
                    <a:pt x="219468" y="225764"/>
                  </a:cubicBezTo>
                  <a:cubicBezTo>
                    <a:pt x="299880" y="143914"/>
                    <a:pt x="411773" y="93184"/>
                    <a:pt x="535359" y="93184"/>
                  </a:cubicBezTo>
                  <a:cubicBezTo>
                    <a:pt x="551729" y="93184"/>
                    <a:pt x="567739" y="94083"/>
                    <a:pt x="583570" y="95882"/>
                  </a:cubicBezTo>
                  <a:cubicBezTo>
                    <a:pt x="789366" y="118009"/>
                    <a:pt x="952888" y="281531"/>
                    <a:pt x="975015" y="487327"/>
                  </a:cubicBezTo>
                  <a:cubicBezTo>
                    <a:pt x="976814" y="503158"/>
                    <a:pt x="977713" y="519168"/>
                    <a:pt x="977713" y="535538"/>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38">
              <a:extLst>
                <a:ext uri="{FF2B5EF4-FFF2-40B4-BE49-F238E27FC236}">
                  <a16:creationId xmlns:a16="http://schemas.microsoft.com/office/drawing/2014/main" id="{7DBE5BA5-503F-6B2C-9FAE-00B5C434F645}"/>
                </a:ext>
              </a:extLst>
            </p:cNvPr>
            <p:cNvSpPr/>
            <p:nvPr/>
          </p:nvSpPr>
          <p:spPr>
            <a:xfrm flipH="1">
              <a:off x="9738993" y="3922725"/>
              <a:ext cx="527803" cy="527803"/>
            </a:xfrm>
            <a:custGeom>
              <a:avLst/>
              <a:gdLst>
                <a:gd name="connsiteX0" fmla="*/ 263902 w 527803"/>
                <a:gd name="connsiteY0" fmla="*/ 0 h 527803"/>
                <a:gd name="connsiteX1" fmla="*/ 74296 w 527803"/>
                <a:gd name="connsiteY1" fmla="*/ 80412 h 527803"/>
                <a:gd name="connsiteX2" fmla="*/ 18169 w 527803"/>
                <a:gd name="connsiteY2" fmla="*/ 167660 h 527803"/>
                <a:gd name="connsiteX3" fmla="*/ 0 w 527803"/>
                <a:gd name="connsiteY3" fmla="*/ 263902 h 527803"/>
                <a:gd name="connsiteX4" fmla="*/ 263902 w 527803"/>
                <a:gd name="connsiteY4" fmla="*/ 527803 h 527803"/>
                <a:gd name="connsiteX5" fmla="*/ 360144 w 527803"/>
                <a:gd name="connsiteY5" fmla="*/ 509634 h 527803"/>
                <a:gd name="connsiteX6" fmla="*/ 447392 w 527803"/>
                <a:gd name="connsiteY6" fmla="*/ 453508 h 527803"/>
                <a:gd name="connsiteX7" fmla="*/ 527803 w 527803"/>
                <a:gd name="connsiteY7" fmla="*/ 263902 h 527803"/>
                <a:gd name="connsiteX8" fmla="*/ 263902 w 527803"/>
                <a:gd name="connsiteY8" fmla="*/ 0 h 527803"/>
                <a:gd name="connsiteX9" fmla="*/ 292505 w 527803"/>
                <a:gd name="connsiteY9" fmla="*/ 441995 h 527803"/>
                <a:gd name="connsiteX10" fmla="*/ 263902 w 527803"/>
                <a:gd name="connsiteY10" fmla="*/ 444333 h 527803"/>
                <a:gd name="connsiteX11" fmla="*/ 83470 w 527803"/>
                <a:gd name="connsiteY11" fmla="*/ 263902 h 527803"/>
                <a:gd name="connsiteX12" fmla="*/ 85809 w 527803"/>
                <a:gd name="connsiteY12" fmla="*/ 235299 h 527803"/>
                <a:gd name="connsiteX13" fmla="*/ 133480 w 527803"/>
                <a:gd name="connsiteY13" fmla="*/ 139596 h 527803"/>
                <a:gd name="connsiteX14" fmla="*/ 263902 w 527803"/>
                <a:gd name="connsiteY14" fmla="*/ 83470 h 527803"/>
                <a:gd name="connsiteX15" fmla="*/ 444333 w 527803"/>
                <a:gd name="connsiteY15" fmla="*/ 263902 h 527803"/>
                <a:gd name="connsiteX16" fmla="*/ 388387 w 527803"/>
                <a:gd name="connsiteY16" fmla="*/ 394503 h 527803"/>
                <a:gd name="connsiteX17" fmla="*/ 292505 w 527803"/>
                <a:gd name="connsiteY17" fmla="*/ 441995 h 52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7803" h="527803">
                  <a:moveTo>
                    <a:pt x="263902" y="0"/>
                  </a:moveTo>
                  <a:cubicBezTo>
                    <a:pt x="189606" y="0"/>
                    <a:pt x="122327" y="30762"/>
                    <a:pt x="74296" y="80412"/>
                  </a:cubicBezTo>
                  <a:cubicBezTo>
                    <a:pt x="50190" y="105237"/>
                    <a:pt x="30941" y="134739"/>
                    <a:pt x="18169" y="167660"/>
                  </a:cubicBezTo>
                  <a:cubicBezTo>
                    <a:pt x="6476" y="197342"/>
                    <a:pt x="0" y="229902"/>
                    <a:pt x="0" y="263902"/>
                  </a:cubicBezTo>
                  <a:cubicBezTo>
                    <a:pt x="0" y="409614"/>
                    <a:pt x="118189" y="527803"/>
                    <a:pt x="263902" y="527803"/>
                  </a:cubicBezTo>
                  <a:cubicBezTo>
                    <a:pt x="297901" y="527803"/>
                    <a:pt x="330462" y="521327"/>
                    <a:pt x="360144" y="509634"/>
                  </a:cubicBezTo>
                  <a:cubicBezTo>
                    <a:pt x="393064" y="496862"/>
                    <a:pt x="422566" y="477613"/>
                    <a:pt x="447392" y="453508"/>
                  </a:cubicBezTo>
                  <a:cubicBezTo>
                    <a:pt x="497042" y="405477"/>
                    <a:pt x="527803" y="338197"/>
                    <a:pt x="527803" y="263902"/>
                  </a:cubicBezTo>
                  <a:cubicBezTo>
                    <a:pt x="527803" y="118189"/>
                    <a:pt x="409614" y="0"/>
                    <a:pt x="263902" y="0"/>
                  </a:cubicBezTo>
                  <a:close/>
                  <a:moveTo>
                    <a:pt x="292505" y="441995"/>
                  </a:moveTo>
                  <a:cubicBezTo>
                    <a:pt x="283150" y="443614"/>
                    <a:pt x="273616" y="444333"/>
                    <a:pt x="263902" y="444333"/>
                  </a:cubicBezTo>
                  <a:cubicBezTo>
                    <a:pt x="164242" y="444333"/>
                    <a:pt x="83470" y="363562"/>
                    <a:pt x="83470" y="263902"/>
                  </a:cubicBezTo>
                  <a:cubicBezTo>
                    <a:pt x="83470" y="254188"/>
                    <a:pt x="84189" y="244653"/>
                    <a:pt x="85809" y="235299"/>
                  </a:cubicBezTo>
                  <a:cubicBezTo>
                    <a:pt x="91565" y="198421"/>
                    <a:pt x="108655" y="165321"/>
                    <a:pt x="133480" y="139596"/>
                  </a:cubicBezTo>
                  <a:cubicBezTo>
                    <a:pt x="166040" y="105057"/>
                    <a:pt x="212453" y="83470"/>
                    <a:pt x="263902" y="83470"/>
                  </a:cubicBezTo>
                  <a:cubicBezTo>
                    <a:pt x="363562" y="83470"/>
                    <a:pt x="444333" y="164242"/>
                    <a:pt x="444333" y="263902"/>
                  </a:cubicBezTo>
                  <a:cubicBezTo>
                    <a:pt x="444333" y="315171"/>
                    <a:pt x="422926" y="361583"/>
                    <a:pt x="388387" y="394503"/>
                  </a:cubicBezTo>
                  <a:cubicBezTo>
                    <a:pt x="362662" y="419149"/>
                    <a:pt x="329382" y="436238"/>
                    <a:pt x="292505" y="44199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39">
              <a:extLst>
                <a:ext uri="{FF2B5EF4-FFF2-40B4-BE49-F238E27FC236}">
                  <a16:creationId xmlns:a16="http://schemas.microsoft.com/office/drawing/2014/main" id="{81FCAFD5-70B1-CFC7-B6AE-345B2805E364}"/>
                </a:ext>
              </a:extLst>
            </p:cNvPr>
            <p:cNvSpPr/>
            <p:nvPr/>
          </p:nvSpPr>
          <p:spPr>
            <a:xfrm flipH="1">
              <a:off x="8559081" y="891904"/>
              <a:ext cx="1420427" cy="1420427"/>
            </a:xfrm>
            <a:custGeom>
              <a:avLst/>
              <a:gdLst>
                <a:gd name="connsiteX0" fmla="*/ 1419708 w 1420427"/>
                <a:gd name="connsiteY0" fmla="*/ 680352 h 1420427"/>
                <a:gd name="connsiteX1" fmla="*/ 740076 w 1420427"/>
                <a:gd name="connsiteY1" fmla="*/ 720 h 1420427"/>
                <a:gd name="connsiteX2" fmla="*/ 710214 w 1420427"/>
                <a:gd name="connsiteY2" fmla="*/ 0 h 1420427"/>
                <a:gd name="connsiteX3" fmla="*/ 13672 w 1420427"/>
                <a:gd name="connsiteY3" fmla="*/ 570438 h 1420427"/>
                <a:gd name="connsiteX4" fmla="*/ 0 w 1420427"/>
                <a:gd name="connsiteY4" fmla="*/ 710214 h 1420427"/>
                <a:gd name="connsiteX5" fmla="*/ 7196 w 1420427"/>
                <a:gd name="connsiteY5" fmla="*/ 811493 h 1420427"/>
                <a:gd name="connsiteX6" fmla="*/ 20328 w 1420427"/>
                <a:gd name="connsiteY6" fmla="*/ 879672 h 1420427"/>
                <a:gd name="connsiteX7" fmla="*/ 540756 w 1420427"/>
                <a:gd name="connsiteY7" fmla="*/ 1400100 h 1420427"/>
                <a:gd name="connsiteX8" fmla="*/ 608935 w 1420427"/>
                <a:gd name="connsiteY8" fmla="*/ 1413232 h 1420427"/>
                <a:gd name="connsiteX9" fmla="*/ 710214 w 1420427"/>
                <a:gd name="connsiteY9" fmla="*/ 1420427 h 1420427"/>
                <a:gd name="connsiteX10" fmla="*/ 716510 w 1420427"/>
                <a:gd name="connsiteY10" fmla="*/ 1420427 h 1420427"/>
                <a:gd name="connsiteX11" fmla="*/ 1420428 w 1420427"/>
                <a:gd name="connsiteY11" fmla="*/ 710214 h 1420427"/>
                <a:gd name="connsiteX12" fmla="*/ 1419708 w 1420427"/>
                <a:gd name="connsiteY12" fmla="*/ 680352 h 1420427"/>
                <a:gd name="connsiteX13" fmla="*/ 710214 w 1420427"/>
                <a:gd name="connsiteY13" fmla="*/ 1362682 h 1420427"/>
                <a:gd name="connsiteX14" fmla="*/ 671357 w 1420427"/>
                <a:gd name="connsiteY14" fmla="*/ 1361423 h 1420427"/>
                <a:gd name="connsiteX15" fmla="*/ 534279 w 1420427"/>
                <a:gd name="connsiteY15" fmla="*/ 1338577 h 1420427"/>
                <a:gd name="connsiteX16" fmla="*/ 448831 w 1420427"/>
                <a:gd name="connsiteY16" fmla="*/ 1308175 h 1420427"/>
                <a:gd name="connsiteX17" fmla="*/ 112253 w 1420427"/>
                <a:gd name="connsiteY17" fmla="*/ 971597 h 1420427"/>
                <a:gd name="connsiteX18" fmla="*/ 81851 w 1420427"/>
                <a:gd name="connsiteY18" fmla="*/ 886148 h 1420427"/>
                <a:gd name="connsiteX19" fmla="*/ 57745 w 1420427"/>
                <a:gd name="connsiteY19" fmla="*/ 710214 h 1420427"/>
                <a:gd name="connsiteX20" fmla="*/ 63142 w 1420427"/>
                <a:gd name="connsiteY20" fmla="*/ 626024 h 1420427"/>
                <a:gd name="connsiteX21" fmla="*/ 710214 w 1420427"/>
                <a:gd name="connsiteY21" fmla="*/ 57745 h 1420427"/>
                <a:gd name="connsiteX22" fmla="*/ 803758 w 1420427"/>
                <a:gd name="connsiteY22" fmla="*/ 64401 h 1420427"/>
                <a:gd name="connsiteX23" fmla="*/ 1356026 w 1420427"/>
                <a:gd name="connsiteY23" fmla="*/ 616670 h 1420427"/>
                <a:gd name="connsiteX24" fmla="*/ 1362682 w 1420427"/>
                <a:gd name="connsiteY24" fmla="*/ 710214 h 1420427"/>
                <a:gd name="connsiteX25" fmla="*/ 710214 w 1420427"/>
                <a:gd name="connsiteY25" fmla="*/ 1362682 h 142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0427" h="1420427">
                  <a:moveTo>
                    <a:pt x="1419708" y="680352"/>
                  </a:moveTo>
                  <a:cubicBezTo>
                    <a:pt x="1404597" y="311753"/>
                    <a:pt x="1108675" y="15830"/>
                    <a:pt x="740076" y="720"/>
                  </a:cubicBezTo>
                  <a:cubicBezTo>
                    <a:pt x="730182" y="180"/>
                    <a:pt x="720288" y="0"/>
                    <a:pt x="710214" y="0"/>
                  </a:cubicBezTo>
                  <a:cubicBezTo>
                    <a:pt x="365721" y="0"/>
                    <a:pt x="78613" y="245013"/>
                    <a:pt x="13672" y="570438"/>
                  </a:cubicBezTo>
                  <a:cubicBezTo>
                    <a:pt x="4677" y="615591"/>
                    <a:pt x="0" y="662362"/>
                    <a:pt x="0" y="710214"/>
                  </a:cubicBezTo>
                  <a:cubicBezTo>
                    <a:pt x="0" y="744573"/>
                    <a:pt x="2518" y="778393"/>
                    <a:pt x="7196" y="811493"/>
                  </a:cubicBezTo>
                  <a:cubicBezTo>
                    <a:pt x="10434" y="834519"/>
                    <a:pt x="14931" y="857365"/>
                    <a:pt x="20328" y="879672"/>
                  </a:cubicBezTo>
                  <a:cubicBezTo>
                    <a:pt x="82930" y="1135838"/>
                    <a:pt x="284589" y="1337497"/>
                    <a:pt x="540756" y="1400100"/>
                  </a:cubicBezTo>
                  <a:cubicBezTo>
                    <a:pt x="563062" y="1405496"/>
                    <a:pt x="585908" y="1409994"/>
                    <a:pt x="608935" y="1413232"/>
                  </a:cubicBezTo>
                  <a:cubicBezTo>
                    <a:pt x="642035" y="1417909"/>
                    <a:pt x="675854" y="1420427"/>
                    <a:pt x="710214" y="1420427"/>
                  </a:cubicBezTo>
                  <a:lnTo>
                    <a:pt x="716510" y="1420427"/>
                  </a:lnTo>
                  <a:cubicBezTo>
                    <a:pt x="1105976" y="1417010"/>
                    <a:pt x="1420428" y="1100580"/>
                    <a:pt x="1420428" y="710214"/>
                  </a:cubicBezTo>
                  <a:cubicBezTo>
                    <a:pt x="1420428" y="700140"/>
                    <a:pt x="1420248" y="690246"/>
                    <a:pt x="1419708" y="680352"/>
                  </a:cubicBezTo>
                  <a:close/>
                  <a:moveTo>
                    <a:pt x="710214" y="1362682"/>
                  </a:moveTo>
                  <a:cubicBezTo>
                    <a:pt x="697262" y="1362682"/>
                    <a:pt x="684309" y="1362322"/>
                    <a:pt x="671357" y="1361423"/>
                  </a:cubicBezTo>
                  <a:cubicBezTo>
                    <a:pt x="624225" y="1358725"/>
                    <a:pt x="578353" y="1350989"/>
                    <a:pt x="534279" y="1338577"/>
                  </a:cubicBezTo>
                  <a:cubicBezTo>
                    <a:pt x="504957" y="1330482"/>
                    <a:pt x="476354" y="1320228"/>
                    <a:pt x="448831" y="1308175"/>
                  </a:cubicBezTo>
                  <a:cubicBezTo>
                    <a:pt x="298621" y="1242514"/>
                    <a:pt x="177913" y="1121807"/>
                    <a:pt x="112253" y="971597"/>
                  </a:cubicBezTo>
                  <a:cubicBezTo>
                    <a:pt x="100200" y="944073"/>
                    <a:pt x="89946" y="915471"/>
                    <a:pt x="81851" y="886148"/>
                  </a:cubicBezTo>
                  <a:cubicBezTo>
                    <a:pt x="66020" y="830202"/>
                    <a:pt x="57745" y="771197"/>
                    <a:pt x="57745" y="710214"/>
                  </a:cubicBezTo>
                  <a:cubicBezTo>
                    <a:pt x="57745" y="681791"/>
                    <a:pt x="59544" y="653548"/>
                    <a:pt x="63142" y="626024"/>
                  </a:cubicBezTo>
                  <a:cubicBezTo>
                    <a:pt x="104517" y="305457"/>
                    <a:pt x="378493" y="57745"/>
                    <a:pt x="710214" y="57745"/>
                  </a:cubicBezTo>
                  <a:cubicBezTo>
                    <a:pt x="742055" y="57745"/>
                    <a:pt x="773176" y="60084"/>
                    <a:pt x="803758" y="64401"/>
                  </a:cubicBezTo>
                  <a:cubicBezTo>
                    <a:pt x="1089246" y="105417"/>
                    <a:pt x="1315011" y="331181"/>
                    <a:pt x="1356026" y="616670"/>
                  </a:cubicBezTo>
                  <a:cubicBezTo>
                    <a:pt x="1360344" y="647251"/>
                    <a:pt x="1362682" y="678373"/>
                    <a:pt x="1362682" y="710214"/>
                  </a:cubicBezTo>
                  <a:cubicBezTo>
                    <a:pt x="1362682" y="1070537"/>
                    <a:pt x="1070538" y="1362682"/>
                    <a:pt x="710214" y="1362682"/>
                  </a:cubicBez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0" name="Freeform: Shape 40">
              <a:extLst>
                <a:ext uri="{FF2B5EF4-FFF2-40B4-BE49-F238E27FC236}">
                  <a16:creationId xmlns:a16="http://schemas.microsoft.com/office/drawing/2014/main" id="{F1113073-8A53-5648-8D29-688BF62C3037}"/>
                </a:ext>
              </a:extLst>
            </p:cNvPr>
            <p:cNvSpPr/>
            <p:nvPr/>
          </p:nvSpPr>
          <p:spPr>
            <a:xfrm flipH="1">
              <a:off x="8732317" y="1064960"/>
              <a:ext cx="1074135" cy="1074315"/>
            </a:xfrm>
            <a:custGeom>
              <a:avLst/>
              <a:gdLst>
                <a:gd name="connsiteX0" fmla="*/ 993904 w 1074135"/>
                <a:gd name="connsiteY0" fmla="*/ 254547 h 1074315"/>
                <a:gd name="connsiteX1" fmla="*/ 819768 w 1074135"/>
                <a:gd name="connsiteY1" fmla="*/ 80412 h 1074315"/>
                <a:gd name="connsiteX2" fmla="*/ 537158 w 1074135"/>
                <a:gd name="connsiteY2" fmla="*/ 0 h 1074315"/>
                <a:gd name="connsiteX3" fmla="*/ 0 w 1074135"/>
                <a:gd name="connsiteY3" fmla="*/ 537158 h 1074315"/>
                <a:gd name="connsiteX4" fmla="*/ 1799 w 1074135"/>
                <a:gd name="connsiteY4" fmla="*/ 580871 h 1074315"/>
                <a:gd name="connsiteX5" fmla="*/ 394144 w 1074135"/>
                <a:gd name="connsiteY5" fmla="*/ 1054887 h 1074315"/>
                <a:gd name="connsiteX6" fmla="*/ 394144 w 1074135"/>
                <a:gd name="connsiteY6" fmla="*/ 1054887 h 1074315"/>
                <a:gd name="connsiteX7" fmla="*/ 536978 w 1074135"/>
                <a:gd name="connsiteY7" fmla="*/ 1074315 h 1074315"/>
                <a:gd name="connsiteX8" fmla="*/ 1074136 w 1074135"/>
                <a:gd name="connsiteY8" fmla="*/ 537158 h 1074315"/>
                <a:gd name="connsiteX9" fmla="*/ 993724 w 1074135"/>
                <a:gd name="connsiteY9" fmla="*/ 254547 h 1074315"/>
                <a:gd name="connsiteX10" fmla="*/ 537158 w 1074135"/>
                <a:gd name="connsiteY10" fmla="*/ 1013152 h 1074315"/>
                <a:gd name="connsiteX11" fmla="*/ 318589 w 1074135"/>
                <a:gd name="connsiteY11" fmla="*/ 960084 h 1074315"/>
                <a:gd name="connsiteX12" fmla="*/ 318409 w 1074135"/>
                <a:gd name="connsiteY12" fmla="*/ 960084 h 1074315"/>
                <a:gd name="connsiteX13" fmla="*/ 318229 w 1074135"/>
                <a:gd name="connsiteY13" fmla="*/ 959904 h 1074315"/>
                <a:gd name="connsiteX14" fmla="*/ 80951 w 1074135"/>
                <a:gd name="connsiteY14" fmla="*/ 673156 h 1074315"/>
                <a:gd name="connsiteX15" fmla="*/ 80951 w 1074135"/>
                <a:gd name="connsiteY15" fmla="*/ 673156 h 1074315"/>
                <a:gd name="connsiteX16" fmla="*/ 61163 w 1074135"/>
                <a:gd name="connsiteY16" fmla="*/ 537158 h 1074315"/>
                <a:gd name="connsiteX17" fmla="*/ 537158 w 1074135"/>
                <a:gd name="connsiteY17" fmla="*/ 61163 h 1074315"/>
                <a:gd name="connsiteX18" fmla="*/ 1013152 w 1074135"/>
                <a:gd name="connsiteY18" fmla="*/ 537158 h 1074315"/>
                <a:gd name="connsiteX19" fmla="*/ 537158 w 1074135"/>
                <a:gd name="connsiteY19" fmla="*/ 1013152 h 10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4135" h="1074315">
                  <a:moveTo>
                    <a:pt x="993904" y="254547"/>
                  </a:moveTo>
                  <a:cubicBezTo>
                    <a:pt x="950190" y="183850"/>
                    <a:pt x="890466" y="124125"/>
                    <a:pt x="819768" y="80412"/>
                  </a:cubicBezTo>
                  <a:cubicBezTo>
                    <a:pt x="737737" y="29322"/>
                    <a:pt x="640955" y="0"/>
                    <a:pt x="537158" y="0"/>
                  </a:cubicBezTo>
                  <a:cubicBezTo>
                    <a:pt x="240516" y="0"/>
                    <a:pt x="0" y="240516"/>
                    <a:pt x="0" y="537158"/>
                  </a:cubicBezTo>
                  <a:cubicBezTo>
                    <a:pt x="0" y="551909"/>
                    <a:pt x="540" y="566480"/>
                    <a:pt x="1799" y="580871"/>
                  </a:cubicBezTo>
                  <a:cubicBezTo>
                    <a:pt x="20148" y="808615"/>
                    <a:pt x="180432" y="996062"/>
                    <a:pt x="394144" y="1054887"/>
                  </a:cubicBezTo>
                  <a:lnTo>
                    <a:pt x="394144" y="1054887"/>
                  </a:lnTo>
                  <a:cubicBezTo>
                    <a:pt x="439656" y="1067659"/>
                    <a:pt x="487508" y="1074315"/>
                    <a:pt x="536978" y="1074315"/>
                  </a:cubicBezTo>
                  <a:cubicBezTo>
                    <a:pt x="833620" y="1074315"/>
                    <a:pt x="1074136" y="833800"/>
                    <a:pt x="1074136" y="537158"/>
                  </a:cubicBezTo>
                  <a:cubicBezTo>
                    <a:pt x="1074136" y="433360"/>
                    <a:pt x="1044813" y="336578"/>
                    <a:pt x="993724" y="254547"/>
                  </a:cubicBezTo>
                  <a:close/>
                  <a:moveTo>
                    <a:pt x="537158" y="1013152"/>
                  </a:moveTo>
                  <a:cubicBezTo>
                    <a:pt x="458185" y="1013152"/>
                    <a:pt x="384070" y="993903"/>
                    <a:pt x="318589" y="960084"/>
                  </a:cubicBezTo>
                  <a:lnTo>
                    <a:pt x="318409" y="960084"/>
                  </a:lnTo>
                  <a:cubicBezTo>
                    <a:pt x="318409" y="960084"/>
                    <a:pt x="318229" y="959904"/>
                    <a:pt x="318229" y="959904"/>
                  </a:cubicBezTo>
                  <a:cubicBezTo>
                    <a:pt x="204717" y="901079"/>
                    <a:pt x="117829" y="797821"/>
                    <a:pt x="80951" y="673156"/>
                  </a:cubicBezTo>
                  <a:lnTo>
                    <a:pt x="80951" y="673156"/>
                  </a:lnTo>
                  <a:cubicBezTo>
                    <a:pt x="67999" y="629982"/>
                    <a:pt x="61163" y="584469"/>
                    <a:pt x="61163" y="537158"/>
                  </a:cubicBezTo>
                  <a:cubicBezTo>
                    <a:pt x="61163" y="274335"/>
                    <a:pt x="274335" y="61163"/>
                    <a:pt x="537158" y="61163"/>
                  </a:cubicBezTo>
                  <a:cubicBezTo>
                    <a:pt x="799980" y="61163"/>
                    <a:pt x="1013152" y="274335"/>
                    <a:pt x="1013152" y="537158"/>
                  </a:cubicBezTo>
                  <a:cubicBezTo>
                    <a:pt x="1013152" y="799980"/>
                    <a:pt x="799980" y="1013152"/>
                    <a:pt x="537158" y="1013152"/>
                  </a:cubicBez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6" name="Freeform: Shape 41">
              <a:extLst>
                <a:ext uri="{FF2B5EF4-FFF2-40B4-BE49-F238E27FC236}">
                  <a16:creationId xmlns:a16="http://schemas.microsoft.com/office/drawing/2014/main" id="{28636BDB-56DF-0791-3116-756A8C1D94DE}"/>
                </a:ext>
              </a:extLst>
            </p:cNvPr>
            <p:cNvSpPr/>
            <p:nvPr/>
          </p:nvSpPr>
          <p:spPr>
            <a:xfrm flipH="1">
              <a:off x="8930378" y="1263201"/>
              <a:ext cx="677833" cy="677833"/>
            </a:xfrm>
            <a:custGeom>
              <a:avLst/>
              <a:gdLst>
                <a:gd name="connsiteX0" fmla="*/ 338917 w 677833"/>
                <a:gd name="connsiteY0" fmla="*/ 0 h 677833"/>
                <a:gd name="connsiteX1" fmla="*/ 0 w 677833"/>
                <a:gd name="connsiteY1" fmla="*/ 338917 h 677833"/>
                <a:gd name="connsiteX2" fmla="*/ 338917 w 677833"/>
                <a:gd name="connsiteY2" fmla="*/ 677833 h 677833"/>
                <a:gd name="connsiteX3" fmla="*/ 677833 w 677833"/>
                <a:gd name="connsiteY3" fmla="*/ 338917 h 677833"/>
                <a:gd name="connsiteX4" fmla="*/ 338917 w 677833"/>
                <a:gd name="connsiteY4" fmla="*/ 0 h 677833"/>
                <a:gd name="connsiteX5" fmla="*/ 338917 w 677833"/>
                <a:gd name="connsiteY5" fmla="*/ 619008 h 677833"/>
                <a:gd name="connsiteX6" fmla="*/ 58825 w 677833"/>
                <a:gd name="connsiteY6" fmla="*/ 338917 h 677833"/>
                <a:gd name="connsiteX7" fmla="*/ 338917 w 677833"/>
                <a:gd name="connsiteY7" fmla="*/ 58825 h 677833"/>
                <a:gd name="connsiteX8" fmla="*/ 619008 w 677833"/>
                <a:gd name="connsiteY8" fmla="*/ 338917 h 677833"/>
                <a:gd name="connsiteX9" fmla="*/ 338917 w 677833"/>
                <a:gd name="connsiteY9" fmla="*/ 619008 h 67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833" h="677833">
                  <a:moveTo>
                    <a:pt x="338917" y="0"/>
                  </a:moveTo>
                  <a:cubicBezTo>
                    <a:pt x="151829" y="0"/>
                    <a:pt x="0" y="151829"/>
                    <a:pt x="0" y="338917"/>
                  </a:cubicBezTo>
                  <a:cubicBezTo>
                    <a:pt x="0" y="526004"/>
                    <a:pt x="151829" y="677833"/>
                    <a:pt x="338917" y="677833"/>
                  </a:cubicBezTo>
                  <a:cubicBezTo>
                    <a:pt x="526004" y="677833"/>
                    <a:pt x="677833" y="526184"/>
                    <a:pt x="677833" y="338917"/>
                  </a:cubicBezTo>
                  <a:cubicBezTo>
                    <a:pt x="677833" y="151649"/>
                    <a:pt x="526184" y="0"/>
                    <a:pt x="338917" y="0"/>
                  </a:cubicBezTo>
                  <a:close/>
                  <a:moveTo>
                    <a:pt x="338917" y="619008"/>
                  </a:moveTo>
                  <a:cubicBezTo>
                    <a:pt x="184209" y="619008"/>
                    <a:pt x="58825" y="493624"/>
                    <a:pt x="58825" y="338917"/>
                  </a:cubicBezTo>
                  <a:cubicBezTo>
                    <a:pt x="58825" y="184209"/>
                    <a:pt x="184209" y="58825"/>
                    <a:pt x="338917" y="58825"/>
                  </a:cubicBezTo>
                  <a:cubicBezTo>
                    <a:pt x="493624" y="58825"/>
                    <a:pt x="619008" y="184209"/>
                    <a:pt x="619008" y="338917"/>
                  </a:cubicBezTo>
                  <a:cubicBezTo>
                    <a:pt x="619008" y="493624"/>
                    <a:pt x="493624" y="619008"/>
                    <a:pt x="338917" y="619008"/>
                  </a:cubicBez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7" name="Freeform: Shape 42">
              <a:extLst>
                <a:ext uri="{FF2B5EF4-FFF2-40B4-BE49-F238E27FC236}">
                  <a16:creationId xmlns:a16="http://schemas.microsoft.com/office/drawing/2014/main" id="{FBDECF47-CED5-1263-9954-DBF9AB295A63}"/>
                </a:ext>
              </a:extLst>
            </p:cNvPr>
            <p:cNvSpPr/>
            <p:nvPr/>
          </p:nvSpPr>
          <p:spPr>
            <a:xfrm flipH="1">
              <a:off x="9102175" y="1434998"/>
              <a:ext cx="334239" cy="334239"/>
            </a:xfrm>
            <a:custGeom>
              <a:avLst/>
              <a:gdLst>
                <a:gd name="connsiteX0" fmla="*/ 167120 w 334239"/>
                <a:gd name="connsiteY0" fmla="*/ 0 h 334239"/>
                <a:gd name="connsiteX1" fmla="*/ 0 w 334239"/>
                <a:gd name="connsiteY1" fmla="*/ 167120 h 334239"/>
                <a:gd name="connsiteX2" fmla="*/ 167120 w 334239"/>
                <a:gd name="connsiteY2" fmla="*/ 334239 h 334239"/>
                <a:gd name="connsiteX3" fmla="*/ 334239 w 334239"/>
                <a:gd name="connsiteY3" fmla="*/ 167120 h 334239"/>
                <a:gd name="connsiteX4" fmla="*/ 167120 w 334239"/>
                <a:gd name="connsiteY4" fmla="*/ 0 h 334239"/>
                <a:gd name="connsiteX5" fmla="*/ 167120 w 334239"/>
                <a:gd name="connsiteY5" fmla="*/ 281351 h 334239"/>
                <a:gd name="connsiteX6" fmla="*/ 52888 w 334239"/>
                <a:gd name="connsiteY6" fmla="*/ 167120 h 334239"/>
                <a:gd name="connsiteX7" fmla="*/ 167120 w 334239"/>
                <a:gd name="connsiteY7" fmla="*/ 52888 h 334239"/>
                <a:gd name="connsiteX8" fmla="*/ 281351 w 334239"/>
                <a:gd name="connsiteY8" fmla="*/ 167120 h 334239"/>
                <a:gd name="connsiteX9" fmla="*/ 167120 w 334239"/>
                <a:gd name="connsiteY9" fmla="*/ 281351 h 33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4239" h="334239">
                  <a:moveTo>
                    <a:pt x="167120" y="0"/>
                  </a:moveTo>
                  <a:cubicBezTo>
                    <a:pt x="74835" y="0"/>
                    <a:pt x="0" y="74835"/>
                    <a:pt x="0" y="167120"/>
                  </a:cubicBezTo>
                  <a:cubicBezTo>
                    <a:pt x="0" y="259404"/>
                    <a:pt x="74835" y="334239"/>
                    <a:pt x="167120" y="334239"/>
                  </a:cubicBezTo>
                  <a:cubicBezTo>
                    <a:pt x="259405" y="334239"/>
                    <a:pt x="334239" y="259404"/>
                    <a:pt x="334239" y="167120"/>
                  </a:cubicBezTo>
                  <a:cubicBezTo>
                    <a:pt x="334239" y="74835"/>
                    <a:pt x="259405" y="0"/>
                    <a:pt x="167120" y="0"/>
                  </a:cubicBezTo>
                  <a:close/>
                  <a:moveTo>
                    <a:pt x="167120" y="281351"/>
                  </a:moveTo>
                  <a:cubicBezTo>
                    <a:pt x="104158" y="281351"/>
                    <a:pt x="52888" y="230262"/>
                    <a:pt x="52888" y="167120"/>
                  </a:cubicBezTo>
                  <a:cubicBezTo>
                    <a:pt x="52888" y="103978"/>
                    <a:pt x="104158" y="52888"/>
                    <a:pt x="167120" y="52888"/>
                  </a:cubicBezTo>
                  <a:cubicBezTo>
                    <a:pt x="230082" y="52888"/>
                    <a:pt x="281351" y="104158"/>
                    <a:pt x="281351" y="167120"/>
                  </a:cubicBezTo>
                  <a:cubicBezTo>
                    <a:pt x="281351" y="230082"/>
                    <a:pt x="230262" y="281351"/>
                    <a:pt x="167120" y="281351"/>
                  </a:cubicBez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8" name="Freeform: Shape 43">
              <a:extLst>
                <a:ext uri="{FF2B5EF4-FFF2-40B4-BE49-F238E27FC236}">
                  <a16:creationId xmlns:a16="http://schemas.microsoft.com/office/drawing/2014/main" id="{A7D683D5-27F9-55A9-1CDB-7B486D835525}"/>
                </a:ext>
              </a:extLst>
            </p:cNvPr>
            <p:cNvSpPr/>
            <p:nvPr/>
          </p:nvSpPr>
          <p:spPr>
            <a:xfrm flipH="1">
              <a:off x="11134328" y="2879711"/>
              <a:ext cx="347099" cy="363232"/>
            </a:xfrm>
            <a:custGeom>
              <a:avLst/>
              <a:gdLst>
                <a:gd name="connsiteX0" fmla="*/ 323086 w 347099"/>
                <a:gd name="connsiteY0" fmla="*/ 16010 h 363232"/>
                <a:gd name="connsiteX1" fmla="*/ 0 w 347099"/>
                <a:gd name="connsiteY1" fmla="*/ 339096 h 363232"/>
                <a:gd name="connsiteX2" fmla="*/ 276674 w 347099"/>
                <a:gd name="connsiteY2" fmla="*/ 292684 h 363232"/>
                <a:gd name="connsiteX3" fmla="*/ 314631 w 347099"/>
                <a:gd name="connsiteY3" fmla="*/ 0 h 363232"/>
                <a:gd name="connsiteX4" fmla="*/ 323086 w 347099"/>
                <a:gd name="connsiteY4" fmla="*/ 15831 h 363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9" h="363232">
                  <a:moveTo>
                    <a:pt x="323086" y="16010"/>
                  </a:moveTo>
                  <a:lnTo>
                    <a:pt x="0" y="339096"/>
                  </a:lnTo>
                  <a:cubicBezTo>
                    <a:pt x="90126" y="382630"/>
                    <a:pt x="202199" y="367340"/>
                    <a:pt x="276674" y="292684"/>
                  </a:cubicBezTo>
                  <a:cubicBezTo>
                    <a:pt x="355647" y="213712"/>
                    <a:pt x="368059" y="92644"/>
                    <a:pt x="314631" y="0"/>
                  </a:cubicBezTo>
                  <a:cubicBezTo>
                    <a:pt x="317689" y="5217"/>
                    <a:pt x="320388" y="10434"/>
                    <a:pt x="323086" y="15831"/>
                  </a:cubicBez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39" name="Freeform: Shape 44">
              <a:extLst>
                <a:ext uri="{FF2B5EF4-FFF2-40B4-BE49-F238E27FC236}">
                  <a16:creationId xmlns:a16="http://schemas.microsoft.com/office/drawing/2014/main" id="{57363D35-7871-51F3-4438-4E24FBF9D3F8}"/>
                </a:ext>
              </a:extLst>
            </p:cNvPr>
            <p:cNvSpPr/>
            <p:nvPr/>
          </p:nvSpPr>
          <p:spPr>
            <a:xfrm flipH="1">
              <a:off x="11168776" y="2863161"/>
              <a:ext cx="8454" cy="13132"/>
            </a:xfrm>
            <a:custGeom>
              <a:avLst/>
              <a:gdLst>
                <a:gd name="connsiteX0" fmla="*/ 0 w 8454"/>
                <a:gd name="connsiteY0" fmla="*/ 0 h 13132"/>
                <a:gd name="connsiteX1" fmla="*/ 8455 w 8454"/>
                <a:gd name="connsiteY1" fmla="*/ 13132 h 13132"/>
                <a:gd name="connsiteX2" fmla="*/ 0 w 8454"/>
                <a:gd name="connsiteY2" fmla="*/ 0 h 13132"/>
              </a:gdLst>
              <a:ahLst/>
              <a:cxnLst>
                <a:cxn ang="0">
                  <a:pos x="connsiteX0" y="connsiteY0"/>
                </a:cxn>
                <a:cxn ang="0">
                  <a:pos x="connsiteX1" y="connsiteY1"/>
                </a:cxn>
                <a:cxn ang="0">
                  <a:pos x="connsiteX2" y="connsiteY2"/>
                </a:cxn>
              </a:cxnLst>
              <a:rect l="l" t="t" r="r" b="b"/>
              <a:pathLst>
                <a:path w="8454" h="13132">
                  <a:moveTo>
                    <a:pt x="0" y="0"/>
                  </a:moveTo>
                  <a:cubicBezTo>
                    <a:pt x="2878" y="4317"/>
                    <a:pt x="5757" y="8635"/>
                    <a:pt x="8455" y="13132"/>
                  </a:cubicBezTo>
                  <a:cubicBezTo>
                    <a:pt x="5757" y="8635"/>
                    <a:pt x="3058" y="4317"/>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45">
              <a:extLst>
                <a:ext uri="{FF2B5EF4-FFF2-40B4-BE49-F238E27FC236}">
                  <a16:creationId xmlns:a16="http://schemas.microsoft.com/office/drawing/2014/main" id="{E4F9F611-49FD-78DF-D45A-E3E1300B08A5}"/>
                </a:ext>
              </a:extLst>
            </p:cNvPr>
            <p:cNvSpPr/>
            <p:nvPr/>
          </p:nvSpPr>
          <p:spPr>
            <a:xfrm flipH="1">
              <a:off x="11182807" y="2846611"/>
              <a:ext cx="7015" cy="9354"/>
            </a:xfrm>
            <a:custGeom>
              <a:avLst/>
              <a:gdLst>
                <a:gd name="connsiteX0" fmla="*/ 0 w 7015"/>
                <a:gd name="connsiteY0" fmla="*/ 0 h 9354"/>
                <a:gd name="connsiteX1" fmla="*/ 7016 w 7015"/>
                <a:gd name="connsiteY1" fmla="*/ 9354 h 9354"/>
                <a:gd name="connsiteX2" fmla="*/ 0 w 7015"/>
                <a:gd name="connsiteY2" fmla="*/ 0 h 9354"/>
              </a:gdLst>
              <a:ahLst/>
              <a:cxnLst>
                <a:cxn ang="0">
                  <a:pos x="connsiteX0" y="connsiteY0"/>
                </a:cxn>
                <a:cxn ang="0">
                  <a:pos x="connsiteX1" y="connsiteY1"/>
                </a:cxn>
                <a:cxn ang="0">
                  <a:pos x="connsiteX2" y="connsiteY2"/>
                </a:cxn>
              </a:cxnLst>
              <a:rect l="l" t="t" r="r" b="b"/>
              <a:pathLst>
                <a:path w="7015" h="9354">
                  <a:moveTo>
                    <a:pt x="0" y="0"/>
                  </a:moveTo>
                  <a:cubicBezTo>
                    <a:pt x="2518" y="3058"/>
                    <a:pt x="4857" y="6116"/>
                    <a:pt x="7016" y="9354"/>
                  </a:cubicBezTo>
                  <a:cubicBezTo>
                    <a:pt x="4677" y="6296"/>
                    <a:pt x="2339" y="3058"/>
                    <a:pt x="0" y="0"/>
                  </a:cubicBezTo>
                  <a:close/>
                </a:path>
              </a:pathLst>
            </a:custGeom>
            <a:gradFill>
              <a:gsLst>
                <a:gs pos="0">
                  <a:srgbClr val="0098FF"/>
                </a:gs>
                <a:gs pos="50000">
                  <a:srgbClr val="00BCFF"/>
                </a:gs>
                <a:gs pos="100000">
                  <a:srgbClr val="00E1FF"/>
                </a:gs>
              </a:gsLst>
              <a:lin ang="1350016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Shape 46">
              <a:extLst>
                <a:ext uri="{FF2B5EF4-FFF2-40B4-BE49-F238E27FC236}">
                  <a16:creationId xmlns:a16="http://schemas.microsoft.com/office/drawing/2014/main" id="{1AEC9D1A-6AAE-042F-1ADB-BE8D4544D14C}"/>
                </a:ext>
              </a:extLst>
            </p:cNvPr>
            <p:cNvSpPr/>
            <p:nvPr/>
          </p:nvSpPr>
          <p:spPr>
            <a:xfrm rot="2700000" flipH="1">
              <a:off x="11200464" y="2851149"/>
              <a:ext cx="484269" cy="166939"/>
            </a:xfrm>
            <a:custGeom>
              <a:avLst/>
              <a:gdLst>
                <a:gd name="connsiteX0" fmla="*/ 0 w 484269"/>
                <a:gd name="connsiteY0" fmla="*/ 0 h 166939"/>
                <a:gd name="connsiteX1" fmla="*/ 484270 w 484269"/>
                <a:gd name="connsiteY1" fmla="*/ 0 h 166939"/>
                <a:gd name="connsiteX2" fmla="*/ 484270 w 484269"/>
                <a:gd name="connsiteY2" fmla="*/ 166940 h 166939"/>
                <a:gd name="connsiteX3" fmla="*/ 0 w 484269"/>
                <a:gd name="connsiteY3" fmla="*/ 166940 h 166939"/>
              </a:gdLst>
              <a:ahLst/>
              <a:cxnLst>
                <a:cxn ang="0">
                  <a:pos x="connsiteX0" y="connsiteY0"/>
                </a:cxn>
                <a:cxn ang="0">
                  <a:pos x="connsiteX1" y="connsiteY1"/>
                </a:cxn>
                <a:cxn ang="0">
                  <a:pos x="connsiteX2" y="connsiteY2"/>
                </a:cxn>
                <a:cxn ang="0">
                  <a:pos x="connsiteX3" y="connsiteY3"/>
                </a:cxn>
              </a:cxnLst>
              <a:rect l="l" t="t" r="r" b="b"/>
              <a:pathLst>
                <a:path w="484269" h="166939">
                  <a:moveTo>
                    <a:pt x="0" y="0"/>
                  </a:moveTo>
                  <a:lnTo>
                    <a:pt x="484270" y="0"/>
                  </a:lnTo>
                  <a:lnTo>
                    <a:pt x="484270" y="166940"/>
                  </a:lnTo>
                  <a:lnTo>
                    <a:pt x="0" y="166940"/>
                  </a:ln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2" name="Freeform: Shape 47">
              <a:extLst>
                <a:ext uri="{FF2B5EF4-FFF2-40B4-BE49-F238E27FC236}">
                  <a16:creationId xmlns:a16="http://schemas.microsoft.com/office/drawing/2014/main" id="{42FAB161-C6E7-0096-181A-BE981DA57E46}"/>
                </a:ext>
              </a:extLst>
            </p:cNvPr>
            <p:cNvSpPr/>
            <p:nvPr/>
          </p:nvSpPr>
          <p:spPr>
            <a:xfrm flipH="1">
              <a:off x="11521363" y="3187326"/>
              <a:ext cx="9174" cy="7016"/>
            </a:xfrm>
            <a:custGeom>
              <a:avLst/>
              <a:gdLst>
                <a:gd name="connsiteX0" fmla="*/ 9174 w 9174"/>
                <a:gd name="connsiteY0" fmla="*/ 7016 h 7016"/>
                <a:gd name="connsiteX1" fmla="*/ 0 w 9174"/>
                <a:gd name="connsiteY1" fmla="*/ 0 h 7016"/>
                <a:gd name="connsiteX2" fmla="*/ 9174 w 9174"/>
                <a:gd name="connsiteY2" fmla="*/ 7016 h 7016"/>
              </a:gdLst>
              <a:ahLst/>
              <a:cxnLst>
                <a:cxn ang="0">
                  <a:pos x="connsiteX0" y="connsiteY0"/>
                </a:cxn>
                <a:cxn ang="0">
                  <a:pos x="connsiteX1" y="connsiteY1"/>
                </a:cxn>
                <a:cxn ang="0">
                  <a:pos x="connsiteX2" y="connsiteY2"/>
                </a:cxn>
              </a:cxnLst>
              <a:rect l="l" t="t" r="r" b="b"/>
              <a:pathLst>
                <a:path w="9174" h="7016">
                  <a:moveTo>
                    <a:pt x="9174" y="7016"/>
                  </a:moveTo>
                  <a:cubicBezTo>
                    <a:pt x="6116" y="4677"/>
                    <a:pt x="3058" y="2519"/>
                    <a:pt x="0" y="0"/>
                  </a:cubicBezTo>
                  <a:cubicBezTo>
                    <a:pt x="3058" y="2519"/>
                    <a:pt x="6116" y="4677"/>
                    <a:pt x="9174" y="7016"/>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Shape 48">
              <a:extLst>
                <a:ext uri="{FF2B5EF4-FFF2-40B4-BE49-F238E27FC236}">
                  <a16:creationId xmlns:a16="http://schemas.microsoft.com/office/drawing/2014/main" id="{02793FBA-EBE7-8D0B-0250-0B69EE6D1906}"/>
                </a:ext>
              </a:extLst>
            </p:cNvPr>
            <p:cNvSpPr/>
            <p:nvPr/>
          </p:nvSpPr>
          <p:spPr>
            <a:xfrm flipH="1">
              <a:off x="11500856" y="3199919"/>
              <a:ext cx="12952" cy="8274"/>
            </a:xfrm>
            <a:custGeom>
              <a:avLst/>
              <a:gdLst>
                <a:gd name="connsiteX0" fmla="*/ 12952 w 12952"/>
                <a:gd name="connsiteY0" fmla="*/ 8275 h 8274"/>
                <a:gd name="connsiteX1" fmla="*/ 0 w 12952"/>
                <a:gd name="connsiteY1" fmla="*/ 0 h 8274"/>
                <a:gd name="connsiteX2" fmla="*/ 12952 w 12952"/>
                <a:gd name="connsiteY2" fmla="*/ 8275 h 8274"/>
              </a:gdLst>
              <a:ahLst/>
              <a:cxnLst>
                <a:cxn ang="0">
                  <a:pos x="connsiteX0" y="connsiteY0"/>
                </a:cxn>
                <a:cxn ang="0">
                  <a:pos x="connsiteX1" y="connsiteY1"/>
                </a:cxn>
                <a:cxn ang="0">
                  <a:pos x="connsiteX2" y="connsiteY2"/>
                </a:cxn>
              </a:cxnLst>
              <a:rect l="l" t="t" r="r" b="b"/>
              <a:pathLst>
                <a:path w="12952" h="8274">
                  <a:moveTo>
                    <a:pt x="12952" y="8275"/>
                  </a:moveTo>
                  <a:cubicBezTo>
                    <a:pt x="8635" y="5577"/>
                    <a:pt x="4138" y="2878"/>
                    <a:pt x="0" y="0"/>
                  </a:cubicBezTo>
                  <a:cubicBezTo>
                    <a:pt x="4317" y="2878"/>
                    <a:pt x="8635" y="5756"/>
                    <a:pt x="12952" y="8275"/>
                  </a:cubicBezTo>
                  <a:close/>
                </a:path>
              </a:pathLst>
            </a:custGeom>
            <a:gradFill>
              <a:gsLst>
                <a:gs pos="0">
                  <a:srgbClr val="0098FF"/>
                </a:gs>
                <a:gs pos="50000">
                  <a:srgbClr val="00BCFF"/>
                </a:gs>
                <a:gs pos="100000">
                  <a:srgbClr val="00E1FF"/>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9">
              <a:extLst>
                <a:ext uri="{FF2B5EF4-FFF2-40B4-BE49-F238E27FC236}">
                  <a16:creationId xmlns:a16="http://schemas.microsoft.com/office/drawing/2014/main" id="{97E67AA4-DFBA-8FDD-2324-B5E0395EDD76}"/>
                </a:ext>
              </a:extLst>
            </p:cNvPr>
            <p:cNvSpPr/>
            <p:nvPr/>
          </p:nvSpPr>
          <p:spPr>
            <a:xfrm flipH="1">
              <a:off x="11481427" y="3210353"/>
              <a:ext cx="15830" cy="8454"/>
            </a:xfrm>
            <a:custGeom>
              <a:avLst/>
              <a:gdLst>
                <a:gd name="connsiteX0" fmla="*/ 15831 w 15830"/>
                <a:gd name="connsiteY0" fmla="*/ 8455 h 8454"/>
                <a:gd name="connsiteX1" fmla="*/ 0 w 15830"/>
                <a:gd name="connsiteY1" fmla="*/ 0 h 8454"/>
                <a:gd name="connsiteX2" fmla="*/ 15831 w 15830"/>
                <a:gd name="connsiteY2" fmla="*/ 8455 h 8454"/>
              </a:gdLst>
              <a:ahLst/>
              <a:cxnLst>
                <a:cxn ang="0">
                  <a:pos x="connsiteX0" y="connsiteY0"/>
                </a:cxn>
                <a:cxn ang="0">
                  <a:pos x="connsiteX1" y="connsiteY1"/>
                </a:cxn>
                <a:cxn ang="0">
                  <a:pos x="connsiteX2" y="connsiteY2"/>
                </a:cxn>
              </a:cxnLst>
              <a:rect l="l" t="t" r="r" b="b"/>
              <a:pathLst>
                <a:path w="15830" h="8454">
                  <a:moveTo>
                    <a:pt x="15831" y="8455"/>
                  </a:moveTo>
                  <a:cubicBezTo>
                    <a:pt x="10434" y="5936"/>
                    <a:pt x="5217" y="3058"/>
                    <a:pt x="0" y="0"/>
                  </a:cubicBezTo>
                  <a:cubicBezTo>
                    <a:pt x="5217" y="3058"/>
                    <a:pt x="10434" y="5756"/>
                    <a:pt x="15831" y="8455"/>
                  </a:cubicBezTo>
                  <a:close/>
                </a:path>
              </a:pathLst>
            </a:custGeom>
            <a:gradFill>
              <a:gsLst>
                <a:gs pos="0">
                  <a:srgbClr val="0098FF"/>
                </a:gs>
                <a:gs pos="50000">
                  <a:srgbClr val="00BCFF"/>
                </a:gs>
                <a:gs pos="100000">
                  <a:srgbClr val="00E1FF"/>
                </a:gs>
              </a:gsLst>
              <a:lin ang="13499835"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Shape 50">
              <a:extLst>
                <a:ext uri="{FF2B5EF4-FFF2-40B4-BE49-F238E27FC236}">
                  <a16:creationId xmlns:a16="http://schemas.microsoft.com/office/drawing/2014/main" id="{0BAE3C18-70B9-E263-BDB5-8672B7B911CE}"/>
                </a:ext>
              </a:extLst>
            </p:cNvPr>
            <p:cNvSpPr/>
            <p:nvPr/>
          </p:nvSpPr>
          <p:spPr>
            <a:xfrm flipH="1">
              <a:off x="11394000" y="2459124"/>
              <a:ext cx="460343" cy="524025"/>
            </a:xfrm>
            <a:custGeom>
              <a:avLst/>
              <a:gdLst>
                <a:gd name="connsiteX0" fmla="*/ 0 w 460343"/>
                <a:gd name="connsiteY0" fmla="*/ 406016 h 524025"/>
                <a:gd name="connsiteX1" fmla="*/ 118009 w 460343"/>
                <a:gd name="connsiteY1" fmla="*/ 524026 h 524025"/>
                <a:gd name="connsiteX2" fmla="*/ 460344 w 460343"/>
                <a:gd name="connsiteY2" fmla="*/ 181691 h 524025"/>
                <a:gd name="connsiteX3" fmla="*/ 278833 w 460343"/>
                <a:gd name="connsiteY3" fmla="*/ 0 h 524025"/>
                <a:gd name="connsiteX4" fmla="*/ 342335 w 460343"/>
                <a:gd name="connsiteY4" fmla="*/ 63682 h 524025"/>
                <a:gd name="connsiteX5" fmla="*/ 0 w 46034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343" h="524025">
                  <a:moveTo>
                    <a:pt x="0" y="406016"/>
                  </a:moveTo>
                  <a:lnTo>
                    <a:pt x="118009" y="524026"/>
                  </a:lnTo>
                  <a:lnTo>
                    <a:pt x="460344" y="181691"/>
                  </a:lnTo>
                  <a:lnTo>
                    <a:pt x="278833" y="0"/>
                  </a:lnTo>
                  <a:lnTo>
                    <a:pt x="342335" y="63682"/>
                  </a:lnTo>
                  <a:lnTo>
                    <a:pt x="0" y="406016"/>
                  </a:ln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6" name="Freeform: Shape 51">
              <a:extLst>
                <a:ext uri="{FF2B5EF4-FFF2-40B4-BE49-F238E27FC236}">
                  <a16:creationId xmlns:a16="http://schemas.microsoft.com/office/drawing/2014/main" id="{A8DB4DAB-E567-81E3-0478-FF4297E5D92B}"/>
                </a:ext>
              </a:extLst>
            </p:cNvPr>
            <p:cNvSpPr/>
            <p:nvPr/>
          </p:nvSpPr>
          <p:spPr>
            <a:xfrm flipH="1">
              <a:off x="11575511" y="2277433"/>
              <a:ext cx="460523" cy="524025"/>
            </a:xfrm>
            <a:custGeom>
              <a:avLst/>
              <a:gdLst>
                <a:gd name="connsiteX0" fmla="*/ 0 w 460523"/>
                <a:gd name="connsiteY0" fmla="*/ 406016 h 524025"/>
                <a:gd name="connsiteX1" fmla="*/ 118009 w 460523"/>
                <a:gd name="connsiteY1" fmla="*/ 524025 h 524025"/>
                <a:gd name="connsiteX2" fmla="*/ 460524 w 460523"/>
                <a:gd name="connsiteY2" fmla="*/ 181691 h 524025"/>
                <a:gd name="connsiteX3" fmla="*/ 278833 w 460523"/>
                <a:gd name="connsiteY3" fmla="*/ 0 h 524025"/>
                <a:gd name="connsiteX4" fmla="*/ 342514 w 460523"/>
                <a:gd name="connsiteY4" fmla="*/ 63682 h 524025"/>
                <a:gd name="connsiteX5" fmla="*/ 0 w 460523"/>
                <a:gd name="connsiteY5" fmla="*/ 406016 h 5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523" h="524025">
                  <a:moveTo>
                    <a:pt x="0" y="406016"/>
                  </a:moveTo>
                  <a:lnTo>
                    <a:pt x="118009" y="524025"/>
                  </a:lnTo>
                  <a:lnTo>
                    <a:pt x="460524" y="181691"/>
                  </a:lnTo>
                  <a:lnTo>
                    <a:pt x="278833" y="0"/>
                  </a:lnTo>
                  <a:lnTo>
                    <a:pt x="342514" y="63682"/>
                  </a:lnTo>
                  <a:lnTo>
                    <a:pt x="0" y="406016"/>
                  </a:ln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7" name="Freeform: Shape 52">
              <a:extLst>
                <a:ext uri="{FF2B5EF4-FFF2-40B4-BE49-F238E27FC236}">
                  <a16:creationId xmlns:a16="http://schemas.microsoft.com/office/drawing/2014/main" id="{E669FF5B-FD42-D3E5-08B5-8EF27889B7FA}"/>
                </a:ext>
              </a:extLst>
            </p:cNvPr>
            <p:cNvSpPr/>
            <p:nvPr/>
          </p:nvSpPr>
          <p:spPr>
            <a:xfrm flipH="1">
              <a:off x="12120404" y="1853067"/>
              <a:ext cx="61163" cy="122326"/>
            </a:xfrm>
            <a:custGeom>
              <a:avLst/>
              <a:gdLst>
                <a:gd name="connsiteX0" fmla="*/ 61163 w 61163"/>
                <a:gd name="connsiteY0" fmla="*/ 61163 h 122326"/>
                <a:gd name="connsiteX1" fmla="*/ 0 w 61163"/>
                <a:gd name="connsiteY1" fmla="*/ 122327 h 122326"/>
                <a:gd name="connsiteX2" fmla="*/ 0 w 61163"/>
                <a:gd name="connsiteY2" fmla="*/ 0 h 122326"/>
                <a:gd name="connsiteX3" fmla="*/ 61163 w 61163"/>
                <a:gd name="connsiteY3" fmla="*/ 61163 h 122326"/>
              </a:gdLst>
              <a:ahLst/>
              <a:cxnLst>
                <a:cxn ang="0">
                  <a:pos x="connsiteX0" y="connsiteY0"/>
                </a:cxn>
                <a:cxn ang="0">
                  <a:pos x="connsiteX1" y="connsiteY1"/>
                </a:cxn>
                <a:cxn ang="0">
                  <a:pos x="connsiteX2" y="connsiteY2"/>
                </a:cxn>
                <a:cxn ang="0">
                  <a:pos x="connsiteX3" y="connsiteY3"/>
                </a:cxn>
              </a:cxnLst>
              <a:rect l="l" t="t" r="r" b="b"/>
              <a:pathLst>
                <a:path w="61163" h="122326">
                  <a:moveTo>
                    <a:pt x="61163" y="61163"/>
                  </a:moveTo>
                  <a:lnTo>
                    <a:pt x="0" y="122327"/>
                  </a:lnTo>
                  <a:lnTo>
                    <a:pt x="0" y="0"/>
                  </a:lnTo>
                  <a:lnTo>
                    <a:pt x="61163" y="61163"/>
                  </a:ln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8" name="Freeform: Shape 53">
              <a:extLst>
                <a:ext uri="{FF2B5EF4-FFF2-40B4-BE49-F238E27FC236}">
                  <a16:creationId xmlns:a16="http://schemas.microsoft.com/office/drawing/2014/main" id="{42BDB9DF-6FE4-3FE5-7ECD-58AD508D384C}"/>
                </a:ext>
              </a:extLst>
            </p:cNvPr>
            <p:cNvSpPr/>
            <p:nvPr/>
          </p:nvSpPr>
          <p:spPr>
            <a:xfrm flipH="1">
              <a:off x="11938893" y="1977912"/>
              <a:ext cx="242674" cy="360683"/>
            </a:xfrm>
            <a:custGeom>
              <a:avLst/>
              <a:gdLst>
                <a:gd name="connsiteX0" fmla="*/ 0 w 242674"/>
                <a:gd name="connsiteY0" fmla="*/ 360684 h 360683"/>
                <a:gd name="connsiteX1" fmla="*/ 0 w 242674"/>
                <a:gd name="connsiteY1" fmla="*/ 124665 h 360683"/>
                <a:gd name="connsiteX2" fmla="*/ 124665 w 242674"/>
                <a:gd name="connsiteY2" fmla="*/ 0 h 360683"/>
                <a:gd name="connsiteX3" fmla="*/ 242674 w 242674"/>
                <a:gd name="connsiteY3" fmla="*/ 118009 h 360683"/>
                <a:gd name="connsiteX4" fmla="*/ 0 w 242674"/>
                <a:gd name="connsiteY4" fmla="*/ 360684 h 36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674" h="360683">
                  <a:moveTo>
                    <a:pt x="0" y="360684"/>
                  </a:moveTo>
                  <a:lnTo>
                    <a:pt x="0" y="124665"/>
                  </a:lnTo>
                  <a:lnTo>
                    <a:pt x="124665" y="0"/>
                  </a:lnTo>
                  <a:lnTo>
                    <a:pt x="242674" y="118009"/>
                  </a:lnTo>
                  <a:lnTo>
                    <a:pt x="0" y="360684"/>
                  </a:ln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49" name="Freeform: Shape 54">
              <a:extLst>
                <a:ext uri="{FF2B5EF4-FFF2-40B4-BE49-F238E27FC236}">
                  <a16:creationId xmlns:a16="http://schemas.microsoft.com/office/drawing/2014/main" id="{EB5A16A6-1D30-EF35-8F3B-1B6C932C7D00}"/>
                </a:ext>
              </a:extLst>
            </p:cNvPr>
            <p:cNvSpPr/>
            <p:nvPr/>
          </p:nvSpPr>
          <p:spPr>
            <a:xfrm flipH="1">
              <a:off x="11757201" y="2159423"/>
              <a:ext cx="434799" cy="460523"/>
            </a:xfrm>
            <a:custGeom>
              <a:avLst/>
              <a:gdLst>
                <a:gd name="connsiteX0" fmla="*/ 434799 w 434799"/>
                <a:gd name="connsiteY0" fmla="*/ 118009 h 460523"/>
                <a:gd name="connsiteX1" fmla="*/ 354387 w 434799"/>
                <a:gd name="connsiteY1" fmla="*/ 198601 h 460523"/>
                <a:gd name="connsiteX2" fmla="*/ 283150 w 434799"/>
                <a:gd name="connsiteY2" fmla="*/ 269658 h 460523"/>
                <a:gd name="connsiteX3" fmla="*/ 282610 w 434799"/>
                <a:gd name="connsiteY3" fmla="*/ 270198 h 460523"/>
                <a:gd name="connsiteX4" fmla="*/ 92465 w 434799"/>
                <a:gd name="connsiteY4" fmla="*/ 460524 h 460523"/>
                <a:gd name="connsiteX5" fmla="*/ 0 w 434799"/>
                <a:gd name="connsiteY5" fmla="*/ 368059 h 460523"/>
                <a:gd name="connsiteX6" fmla="*/ 0 w 434799"/>
                <a:gd name="connsiteY6" fmla="*/ 316970 h 460523"/>
                <a:gd name="connsiteX7" fmla="*/ 10434 w 434799"/>
                <a:gd name="connsiteY7" fmla="*/ 306536 h 460523"/>
                <a:gd name="connsiteX8" fmla="*/ 164601 w 434799"/>
                <a:gd name="connsiteY8" fmla="*/ 152189 h 460523"/>
                <a:gd name="connsiteX9" fmla="*/ 165141 w 434799"/>
                <a:gd name="connsiteY9" fmla="*/ 151649 h 460523"/>
                <a:gd name="connsiteX10" fmla="*/ 236378 w 434799"/>
                <a:gd name="connsiteY10" fmla="*/ 80592 h 460523"/>
                <a:gd name="connsiteX11" fmla="*/ 316790 w 434799"/>
                <a:gd name="connsiteY11" fmla="*/ 0 h 460523"/>
                <a:gd name="connsiteX12" fmla="*/ 434799 w 434799"/>
                <a:gd name="connsiteY12" fmla="*/ 118009 h 46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99" h="460523">
                  <a:moveTo>
                    <a:pt x="434799" y="118009"/>
                  </a:moveTo>
                  <a:lnTo>
                    <a:pt x="354387" y="198601"/>
                  </a:lnTo>
                  <a:lnTo>
                    <a:pt x="283150" y="269658"/>
                  </a:lnTo>
                  <a:lnTo>
                    <a:pt x="282610" y="270198"/>
                  </a:lnTo>
                  <a:lnTo>
                    <a:pt x="92465" y="460524"/>
                  </a:lnTo>
                  <a:lnTo>
                    <a:pt x="0" y="368059"/>
                  </a:lnTo>
                  <a:lnTo>
                    <a:pt x="0" y="316970"/>
                  </a:lnTo>
                  <a:lnTo>
                    <a:pt x="10434" y="306536"/>
                  </a:lnTo>
                  <a:lnTo>
                    <a:pt x="164601" y="152189"/>
                  </a:lnTo>
                  <a:lnTo>
                    <a:pt x="165141" y="151649"/>
                  </a:lnTo>
                  <a:lnTo>
                    <a:pt x="236378" y="80592"/>
                  </a:lnTo>
                  <a:lnTo>
                    <a:pt x="316790" y="0"/>
                  </a:lnTo>
                  <a:lnTo>
                    <a:pt x="434799" y="118009"/>
                  </a:ln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0" name="Freeform: Shape 55">
              <a:extLst>
                <a:ext uri="{FF2B5EF4-FFF2-40B4-BE49-F238E27FC236}">
                  <a16:creationId xmlns:a16="http://schemas.microsoft.com/office/drawing/2014/main" id="{2365DB64-5EF8-F092-36F1-32CE093CEDA7}"/>
                </a:ext>
              </a:extLst>
            </p:cNvPr>
            <p:cNvSpPr/>
            <p:nvPr/>
          </p:nvSpPr>
          <p:spPr>
            <a:xfrm flipH="1">
              <a:off x="7806503" y="354837"/>
              <a:ext cx="707695" cy="707695"/>
            </a:xfrm>
            <a:custGeom>
              <a:avLst/>
              <a:gdLst>
                <a:gd name="connsiteX0" fmla="*/ 41285 w 707695"/>
                <a:gd name="connsiteY0" fmla="*/ 41285 h 707695"/>
                <a:gd name="connsiteX1" fmla="*/ 41285 w 707695"/>
                <a:gd name="connsiteY1" fmla="*/ 41285 h 707695"/>
                <a:gd name="connsiteX2" fmla="*/ 240426 w 707695"/>
                <a:gd name="connsiteY2" fmla="*/ 41285 h 707695"/>
                <a:gd name="connsiteX3" fmla="*/ 666410 w 707695"/>
                <a:gd name="connsiteY3" fmla="*/ 467270 h 707695"/>
                <a:gd name="connsiteX4" fmla="*/ 666410 w 707695"/>
                <a:gd name="connsiteY4" fmla="*/ 666410 h 707695"/>
                <a:gd name="connsiteX5" fmla="*/ 666410 w 707695"/>
                <a:gd name="connsiteY5" fmla="*/ 666410 h 707695"/>
                <a:gd name="connsiteX6" fmla="*/ 467270 w 707695"/>
                <a:gd name="connsiteY6" fmla="*/ 666410 h 707695"/>
                <a:gd name="connsiteX7" fmla="*/ 41285 w 707695"/>
                <a:gd name="connsiteY7" fmla="*/ 240426 h 707695"/>
                <a:gd name="connsiteX8" fmla="*/ 41285 w 707695"/>
                <a:gd name="connsiteY8" fmla="*/ 41285 h 70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695" h="707695">
                  <a:moveTo>
                    <a:pt x="41285" y="41285"/>
                  </a:moveTo>
                  <a:lnTo>
                    <a:pt x="41285" y="41285"/>
                  </a:lnTo>
                  <a:cubicBezTo>
                    <a:pt x="96332" y="-13762"/>
                    <a:pt x="185559" y="-13762"/>
                    <a:pt x="240426" y="41285"/>
                  </a:cubicBezTo>
                  <a:lnTo>
                    <a:pt x="666410" y="467270"/>
                  </a:lnTo>
                  <a:cubicBezTo>
                    <a:pt x="721457" y="522317"/>
                    <a:pt x="721457" y="611543"/>
                    <a:pt x="666410" y="666410"/>
                  </a:cubicBezTo>
                  <a:lnTo>
                    <a:pt x="666410" y="666410"/>
                  </a:lnTo>
                  <a:cubicBezTo>
                    <a:pt x="611363" y="721457"/>
                    <a:pt x="522137" y="721457"/>
                    <a:pt x="467270" y="666410"/>
                  </a:cubicBezTo>
                  <a:lnTo>
                    <a:pt x="41285" y="240426"/>
                  </a:lnTo>
                  <a:cubicBezTo>
                    <a:pt x="-13762" y="185379"/>
                    <a:pt x="-13762" y="96152"/>
                    <a:pt x="41285" y="41285"/>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6">
              <a:extLst>
                <a:ext uri="{FF2B5EF4-FFF2-40B4-BE49-F238E27FC236}">
                  <a16:creationId xmlns:a16="http://schemas.microsoft.com/office/drawing/2014/main" id="{30EDCCE0-0826-6A77-C28F-67B25222B174}"/>
                </a:ext>
              </a:extLst>
            </p:cNvPr>
            <p:cNvSpPr/>
            <p:nvPr/>
          </p:nvSpPr>
          <p:spPr>
            <a:xfrm flipH="1">
              <a:off x="11297757" y="5693582"/>
              <a:ext cx="554787" cy="554787"/>
            </a:xfrm>
            <a:custGeom>
              <a:avLst/>
              <a:gdLst>
                <a:gd name="connsiteX0" fmla="*/ 32381 w 554787"/>
                <a:gd name="connsiteY0" fmla="*/ 32380 h 554787"/>
                <a:gd name="connsiteX1" fmla="*/ 32381 w 554787"/>
                <a:gd name="connsiteY1" fmla="*/ 32380 h 554787"/>
                <a:gd name="connsiteX2" fmla="*/ 188527 w 554787"/>
                <a:gd name="connsiteY2" fmla="*/ 32380 h 554787"/>
                <a:gd name="connsiteX3" fmla="*/ 522406 w 554787"/>
                <a:gd name="connsiteY3" fmla="*/ 366260 h 554787"/>
                <a:gd name="connsiteX4" fmla="*/ 522406 w 554787"/>
                <a:gd name="connsiteY4" fmla="*/ 522407 h 554787"/>
                <a:gd name="connsiteX5" fmla="*/ 522406 w 554787"/>
                <a:gd name="connsiteY5" fmla="*/ 522407 h 554787"/>
                <a:gd name="connsiteX6" fmla="*/ 366260 w 554787"/>
                <a:gd name="connsiteY6" fmla="*/ 522407 h 554787"/>
                <a:gd name="connsiteX7" fmla="*/ 32381 w 554787"/>
                <a:gd name="connsiteY7" fmla="*/ 188527 h 554787"/>
                <a:gd name="connsiteX8" fmla="*/ 32381 w 554787"/>
                <a:gd name="connsiteY8" fmla="*/ 32380 h 55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7" h="554787">
                  <a:moveTo>
                    <a:pt x="32381" y="32380"/>
                  </a:moveTo>
                  <a:lnTo>
                    <a:pt x="32381" y="32380"/>
                  </a:lnTo>
                  <a:cubicBezTo>
                    <a:pt x="75555" y="-10793"/>
                    <a:pt x="145353" y="-10793"/>
                    <a:pt x="188527" y="32380"/>
                  </a:cubicBezTo>
                  <a:lnTo>
                    <a:pt x="522406" y="366260"/>
                  </a:lnTo>
                  <a:cubicBezTo>
                    <a:pt x="565581" y="409435"/>
                    <a:pt x="565581" y="479233"/>
                    <a:pt x="522406" y="522407"/>
                  </a:cubicBezTo>
                  <a:lnTo>
                    <a:pt x="522406" y="522407"/>
                  </a:lnTo>
                  <a:cubicBezTo>
                    <a:pt x="479232" y="565581"/>
                    <a:pt x="409434" y="565581"/>
                    <a:pt x="366260" y="522407"/>
                  </a:cubicBezTo>
                  <a:lnTo>
                    <a:pt x="32381" y="188527"/>
                  </a:lnTo>
                  <a:cubicBezTo>
                    <a:pt x="-10794" y="145353"/>
                    <a:pt x="-10794" y="75555"/>
                    <a:pt x="32381" y="32380"/>
                  </a:cubicBez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2" name="Freeform: Shape 57">
              <a:extLst>
                <a:ext uri="{FF2B5EF4-FFF2-40B4-BE49-F238E27FC236}">
                  <a16:creationId xmlns:a16="http://schemas.microsoft.com/office/drawing/2014/main" id="{946FC67F-A3C9-609B-DBE6-60A87F5EF543}"/>
                </a:ext>
              </a:extLst>
            </p:cNvPr>
            <p:cNvSpPr/>
            <p:nvPr/>
          </p:nvSpPr>
          <p:spPr>
            <a:xfrm flipH="1">
              <a:off x="9049287" y="5732619"/>
              <a:ext cx="2108694" cy="1182429"/>
            </a:xfrm>
            <a:custGeom>
              <a:avLst/>
              <a:gdLst>
                <a:gd name="connsiteX0" fmla="*/ 2108695 w 2108694"/>
                <a:gd name="connsiteY0" fmla="*/ 1054347 h 1182429"/>
                <a:gd name="connsiteX1" fmla="*/ 2100959 w 2108694"/>
                <a:gd name="connsiteY1" fmla="*/ 1182430 h 1182429"/>
                <a:gd name="connsiteX2" fmla="*/ 7735 w 2108694"/>
                <a:gd name="connsiteY2" fmla="*/ 1182430 h 1182429"/>
                <a:gd name="connsiteX3" fmla="*/ 0 w 2108694"/>
                <a:gd name="connsiteY3" fmla="*/ 1054347 h 1182429"/>
                <a:gd name="connsiteX4" fmla="*/ 91565 w 2108694"/>
                <a:gd name="connsiteY4" fmla="*/ 624405 h 1182429"/>
                <a:gd name="connsiteX5" fmla="*/ 686468 w 2108694"/>
                <a:gd name="connsiteY5" fmla="*/ 66020 h 1182429"/>
                <a:gd name="connsiteX6" fmla="*/ 1054347 w 2108694"/>
                <a:gd name="connsiteY6" fmla="*/ 0 h 1182429"/>
                <a:gd name="connsiteX7" fmla="*/ 2108695 w 2108694"/>
                <a:gd name="connsiteY7" fmla="*/ 1054347 h 118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8694" h="1182429">
                  <a:moveTo>
                    <a:pt x="2108695" y="1054347"/>
                  </a:moveTo>
                  <a:cubicBezTo>
                    <a:pt x="2108695" y="1097701"/>
                    <a:pt x="2105996" y="1140515"/>
                    <a:pt x="2100959" y="1182430"/>
                  </a:cubicBezTo>
                  <a:lnTo>
                    <a:pt x="7735" y="1182430"/>
                  </a:lnTo>
                  <a:cubicBezTo>
                    <a:pt x="2698" y="1140515"/>
                    <a:pt x="0" y="1097701"/>
                    <a:pt x="0" y="1054347"/>
                  </a:cubicBezTo>
                  <a:cubicBezTo>
                    <a:pt x="0" y="901079"/>
                    <a:pt x="32560" y="755726"/>
                    <a:pt x="91565" y="624405"/>
                  </a:cubicBezTo>
                  <a:cubicBezTo>
                    <a:pt x="206336" y="367339"/>
                    <a:pt x="421127" y="164781"/>
                    <a:pt x="686468" y="66020"/>
                  </a:cubicBezTo>
                  <a:cubicBezTo>
                    <a:pt x="801059" y="23386"/>
                    <a:pt x="925005" y="0"/>
                    <a:pt x="1054347" y="0"/>
                  </a:cubicBezTo>
                  <a:cubicBezTo>
                    <a:pt x="1636658" y="0"/>
                    <a:pt x="2108695" y="472037"/>
                    <a:pt x="2108695" y="1054347"/>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8">
              <a:extLst>
                <a:ext uri="{FF2B5EF4-FFF2-40B4-BE49-F238E27FC236}">
                  <a16:creationId xmlns:a16="http://schemas.microsoft.com/office/drawing/2014/main" id="{9207EE5A-2C0E-F9AA-ACF6-8A44FE475955}"/>
                </a:ext>
              </a:extLst>
            </p:cNvPr>
            <p:cNvSpPr/>
            <p:nvPr/>
          </p:nvSpPr>
          <p:spPr>
            <a:xfrm flipH="1">
              <a:off x="6431498" y="3279971"/>
              <a:ext cx="480851" cy="480851"/>
            </a:xfrm>
            <a:custGeom>
              <a:avLst/>
              <a:gdLst>
                <a:gd name="connsiteX0" fmla="*/ 480492 w 480851"/>
                <a:gd name="connsiteY0" fmla="*/ 228103 h 480851"/>
                <a:gd name="connsiteX1" fmla="*/ 480492 w 480851"/>
                <a:gd name="connsiteY1" fmla="*/ 228103 h 480851"/>
                <a:gd name="connsiteX2" fmla="*/ 240336 w 480851"/>
                <a:gd name="connsiteY2" fmla="*/ 0 h 480851"/>
                <a:gd name="connsiteX3" fmla="*/ 105057 w 480851"/>
                <a:gd name="connsiteY3" fmla="*/ 41735 h 480851"/>
                <a:gd name="connsiteX4" fmla="*/ 103258 w 480851"/>
                <a:gd name="connsiteY4" fmla="*/ 42994 h 480851"/>
                <a:gd name="connsiteX5" fmla="*/ 0 w 480851"/>
                <a:gd name="connsiteY5" fmla="*/ 240516 h 480851"/>
                <a:gd name="connsiteX6" fmla="*/ 240336 w 480851"/>
                <a:gd name="connsiteY6" fmla="*/ 480851 h 480851"/>
                <a:gd name="connsiteX7" fmla="*/ 437857 w 480851"/>
                <a:gd name="connsiteY7" fmla="*/ 377593 h 480851"/>
                <a:gd name="connsiteX8" fmla="*/ 442715 w 480851"/>
                <a:gd name="connsiteY8" fmla="*/ 370038 h 480851"/>
                <a:gd name="connsiteX9" fmla="*/ 471677 w 480851"/>
                <a:gd name="connsiteY9" fmla="*/ 306176 h 480851"/>
                <a:gd name="connsiteX10" fmla="*/ 480852 w 480851"/>
                <a:gd name="connsiteY10" fmla="*/ 240516 h 480851"/>
                <a:gd name="connsiteX11" fmla="*/ 480492 w 480851"/>
                <a:gd name="connsiteY11" fmla="*/ 228103 h 480851"/>
                <a:gd name="connsiteX12" fmla="*/ 240336 w 480851"/>
                <a:gd name="connsiteY12" fmla="*/ 340356 h 480851"/>
                <a:gd name="connsiteX13" fmla="*/ 140496 w 480851"/>
                <a:gd name="connsiteY13" fmla="*/ 240516 h 480851"/>
                <a:gd name="connsiteX14" fmla="*/ 206696 w 480851"/>
                <a:gd name="connsiteY14" fmla="*/ 146432 h 480851"/>
                <a:gd name="connsiteX15" fmla="*/ 240336 w 480851"/>
                <a:gd name="connsiteY15" fmla="*/ 140496 h 480851"/>
                <a:gd name="connsiteX16" fmla="*/ 246093 w 480851"/>
                <a:gd name="connsiteY16" fmla="*/ 140856 h 480851"/>
                <a:gd name="connsiteX17" fmla="*/ 333160 w 480851"/>
                <a:gd name="connsiteY17" fmla="*/ 203638 h 480851"/>
                <a:gd name="connsiteX18" fmla="*/ 333160 w 480851"/>
                <a:gd name="connsiteY18" fmla="*/ 203638 h 480851"/>
                <a:gd name="connsiteX19" fmla="*/ 340356 w 480851"/>
                <a:gd name="connsiteY19" fmla="*/ 240516 h 480851"/>
                <a:gd name="connsiteX20" fmla="*/ 334419 w 480851"/>
                <a:gd name="connsiteY20" fmla="*/ 274156 h 480851"/>
                <a:gd name="connsiteX21" fmla="*/ 240336 w 480851"/>
                <a:gd name="connsiteY21" fmla="*/ 340356 h 48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0851" h="480851">
                  <a:moveTo>
                    <a:pt x="480492" y="228103"/>
                  </a:moveTo>
                  <a:lnTo>
                    <a:pt x="480492" y="228103"/>
                  </a:lnTo>
                  <a:cubicBezTo>
                    <a:pt x="474016" y="100919"/>
                    <a:pt x="368959" y="0"/>
                    <a:pt x="240336" y="0"/>
                  </a:cubicBezTo>
                  <a:cubicBezTo>
                    <a:pt x="190146" y="0"/>
                    <a:pt x="143554" y="15471"/>
                    <a:pt x="105057" y="41735"/>
                  </a:cubicBezTo>
                  <a:cubicBezTo>
                    <a:pt x="104338" y="42095"/>
                    <a:pt x="103798" y="42455"/>
                    <a:pt x="103258" y="42994"/>
                  </a:cubicBezTo>
                  <a:cubicBezTo>
                    <a:pt x="40836" y="86348"/>
                    <a:pt x="0" y="158665"/>
                    <a:pt x="0" y="240516"/>
                  </a:cubicBezTo>
                  <a:cubicBezTo>
                    <a:pt x="0" y="373276"/>
                    <a:pt x="107576" y="480851"/>
                    <a:pt x="240336" y="480851"/>
                  </a:cubicBezTo>
                  <a:cubicBezTo>
                    <a:pt x="322187" y="480851"/>
                    <a:pt x="394504" y="440016"/>
                    <a:pt x="437857" y="377593"/>
                  </a:cubicBezTo>
                  <a:cubicBezTo>
                    <a:pt x="439656" y="375075"/>
                    <a:pt x="441275" y="372556"/>
                    <a:pt x="442715" y="370038"/>
                  </a:cubicBezTo>
                  <a:cubicBezTo>
                    <a:pt x="455487" y="350610"/>
                    <a:pt x="465201" y="329022"/>
                    <a:pt x="471677" y="306176"/>
                  </a:cubicBezTo>
                  <a:cubicBezTo>
                    <a:pt x="477614" y="285309"/>
                    <a:pt x="480852" y="263362"/>
                    <a:pt x="480852" y="240516"/>
                  </a:cubicBezTo>
                  <a:cubicBezTo>
                    <a:pt x="480852" y="236378"/>
                    <a:pt x="480852" y="232241"/>
                    <a:pt x="480492" y="228103"/>
                  </a:cubicBezTo>
                  <a:close/>
                  <a:moveTo>
                    <a:pt x="240336" y="340356"/>
                  </a:moveTo>
                  <a:cubicBezTo>
                    <a:pt x="185289" y="340356"/>
                    <a:pt x="140496" y="295562"/>
                    <a:pt x="140496" y="240516"/>
                  </a:cubicBezTo>
                  <a:cubicBezTo>
                    <a:pt x="140496" y="197162"/>
                    <a:pt x="168199" y="160104"/>
                    <a:pt x="206696" y="146432"/>
                  </a:cubicBezTo>
                  <a:cubicBezTo>
                    <a:pt x="217130" y="142474"/>
                    <a:pt x="228463" y="140496"/>
                    <a:pt x="240336" y="140496"/>
                  </a:cubicBezTo>
                  <a:cubicBezTo>
                    <a:pt x="242315" y="140496"/>
                    <a:pt x="244114" y="140496"/>
                    <a:pt x="246093" y="140856"/>
                  </a:cubicBezTo>
                  <a:cubicBezTo>
                    <a:pt x="285849" y="143014"/>
                    <a:pt x="319308" y="168379"/>
                    <a:pt x="333160" y="203638"/>
                  </a:cubicBezTo>
                  <a:lnTo>
                    <a:pt x="333160" y="203638"/>
                  </a:lnTo>
                  <a:cubicBezTo>
                    <a:pt x="337837" y="215151"/>
                    <a:pt x="340356" y="227563"/>
                    <a:pt x="340356" y="240516"/>
                  </a:cubicBezTo>
                  <a:cubicBezTo>
                    <a:pt x="340356" y="252389"/>
                    <a:pt x="338377" y="263722"/>
                    <a:pt x="334419" y="274156"/>
                  </a:cubicBezTo>
                  <a:cubicBezTo>
                    <a:pt x="320748" y="312652"/>
                    <a:pt x="283690" y="340356"/>
                    <a:pt x="240336" y="340356"/>
                  </a:cubicBezTo>
                  <a:close/>
                </a:path>
              </a:pathLst>
            </a:custGeom>
            <a:gradFill>
              <a:gsLst>
                <a:gs pos="0">
                  <a:schemeClr val="bg2">
                    <a:lumMod val="75000"/>
                  </a:schemeClr>
                </a:gs>
                <a:gs pos="50000">
                  <a:schemeClr val="bg2"/>
                </a:gs>
                <a:gs pos="100000">
                  <a:schemeClr val="bg2">
                    <a:lumMod val="60000"/>
                    <a:lumOff val="40000"/>
                  </a:schemeClr>
                </a:gs>
              </a:gsLst>
              <a:lin ang="13500053" scaled="1"/>
            </a:gradFill>
            <a:ln w="17980"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b="0" i="0" u="none" strike="noStrike" cap="none" spc="0" normalizeH="0" baseline="0" noProof="0">
                <a:ln>
                  <a:noFill/>
                </a:ln>
                <a:solidFill>
                  <a:srgbClr val="000000"/>
                </a:solidFill>
                <a:effectLst/>
                <a:uLnTx/>
                <a:uFillTx/>
                <a:latin typeface="Segoe UI"/>
              </a:endParaRPr>
            </a:p>
          </p:txBody>
        </p:sp>
        <p:sp>
          <p:nvSpPr>
            <p:cNvPr id="54" name="Freeform: Shape 59">
              <a:extLst>
                <a:ext uri="{FF2B5EF4-FFF2-40B4-BE49-F238E27FC236}">
                  <a16:creationId xmlns:a16="http://schemas.microsoft.com/office/drawing/2014/main" id="{DF8301A3-596F-0BFE-D613-A73D490C21F0}"/>
                </a:ext>
              </a:extLst>
            </p:cNvPr>
            <p:cNvSpPr/>
            <p:nvPr/>
          </p:nvSpPr>
          <p:spPr>
            <a:xfrm flipH="1">
              <a:off x="11522263" y="3691204"/>
              <a:ext cx="419867" cy="419867"/>
            </a:xfrm>
            <a:custGeom>
              <a:avLst/>
              <a:gdLst>
                <a:gd name="connsiteX0" fmla="*/ 209934 w 419867"/>
                <a:gd name="connsiteY0" fmla="*/ 0 h 419867"/>
                <a:gd name="connsiteX1" fmla="*/ 0 w 419867"/>
                <a:gd name="connsiteY1" fmla="*/ 209934 h 419867"/>
                <a:gd name="connsiteX2" fmla="*/ 209934 w 419867"/>
                <a:gd name="connsiteY2" fmla="*/ 419868 h 419867"/>
                <a:gd name="connsiteX3" fmla="*/ 419868 w 419867"/>
                <a:gd name="connsiteY3" fmla="*/ 209934 h 419867"/>
                <a:gd name="connsiteX4" fmla="*/ 209934 w 419867"/>
                <a:gd name="connsiteY4" fmla="*/ 0 h 419867"/>
                <a:gd name="connsiteX5" fmla="*/ 209934 w 419867"/>
                <a:gd name="connsiteY5" fmla="*/ 297182 h 419867"/>
                <a:gd name="connsiteX6" fmla="*/ 122686 w 419867"/>
                <a:gd name="connsiteY6" fmla="*/ 209934 h 419867"/>
                <a:gd name="connsiteX7" fmla="*/ 209934 w 419867"/>
                <a:gd name="connsiteY7" fmla="*/ 122686 h 419867"/>
                <a:gd name="connsiteX8" fmla="*/ 297182 w 419867"/>
                <a:gd name="connsiteY8" fmla="*/ 209934 h 419867"/>
                <a:gd name="connsiteX9" fmla="*/ 209934 w 419867"/>
                <a:gd name="connsiteY9" fmla="*/ 297182 h 41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67" h="419867">
                  <a:moveTo>
                    <a:pt x="209934" y="0"/>
                  </a:moveTo>
                  <a:cubicBezTo>
                    <a:pt x="94084" y="0"/>
                    <a:pt x="0" y="93904"/>
                    <a:pt x="0" y="209934"/>
                  </a:cubicBezTo>
                  <a:cubicBezTo>
                    <a:pt x="0" y="325964"/>
                    <a:pt x="94084" y="419868"/>
                    <a:pt x="209934" y="419868"/>
                  </a:cubicBezTo>
                  <a:cubicBezTo>
                    <a:pt x="325784" y="419868"/>
                    <a:pt x="419868" y="325784"/>
                    <a:pt x="419868" y="209934"/>
                  </a:cubicBezTo>
                  <a:cubicBezTo>
                    <a:pt x="419868" y="94083"/>
                    <a:pt x="325964" y="0"/>
                    <a:pt x="209934" y="0"/>
                  </a:cubicBezTo>
                  <a:close/>
                  <a:moveTo>
                    <a:pt x="209934" y="297182"/>
                  </a:moveTo>
                  <a:cubicBezTo>
                    <a:pt x="161903" y="297182"/>
                    <a:pt x="122686" y="257965"/>
                    <a:pt x="122686" y="209934"/>
                  </a:cubicBezTo>
                  <a:cubicBezTo>
                    <a:pt x="122686" y="161903"/>
                    <a:pt x="161903" y="122686"/>
                    <a:pt x="209934" y="122686"/>
                  </a:cubicBezTo>
                  <a:cubicBezTo>
                    <a:pt x="257965" y="122686"/>
                    <a:pt x="297182" y="161723"/>
                    <a:pt x="297182" y="209934"/>
                  </a:cubicBezTo>
                  <a:cubicBezTo>
                    <a:pt x="297182" y="258145"/>
                    <a:pt x="258145" y="297182"/>
                    <a:pt x="209934" y="297182"/>
                  </a:cubicBezTo>
                  <a:close/>
                </a:path>
              </a:pathLst>
            </a:custGeom>
            <a:gradFill>
              <a:gsLst>
                <a:gs pos="0">
                  <a:schemeClr val="bg2">
                    <a:alpha val="69000"/>
                  </a:schemeClr>
                </a:gs>
                <a:gs pos="100000">
                  <a:schemeClr val="bg2">
                    <a:lumMod val="60000"/>
                    <a:lumOff val="40000"/>
                    <a:alpha val="45000"/>
                  </a:schemeClr>
                </a:gs>
              </a:gsLst>
              <a:lin ang="13500000" scaled="1"/>
            </a:gradFill>
            <a:ln w="1798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5" name="Freeform: Shape 61">
            <a:extLst>
              <a:ext uri="{FF2B5EF4-FFF2-40B4-BE49-F238E27FC236}">
                <a16:creationId xmlns:a16="http://schemas.microsoft.com/office/drawing/2014/main" id="{D15967A4-BAA2-82AC-F7BE-3E1413C52D41}"/>
              </a:ext>
            </a:extLst>
          </p:cNvPr>
          <p:cNvSpPr/>
          <p:nvPr userDrawn="1"/>
        </p:nvSpPr>
        <p:spPr>
          <a:xfrm>
            <a:off x="5217" y="-3432"/>
            <a:ext cx="12181566"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solidFill>
            <a:schemeClr val="bg2">
              <a:lumMod val="50000"/>
              <a:alpha val="74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52015"/>
            <a:ext cx="5486400" cy="1231106"/>
          </a:xfrm>
          <a:noFill/>
        </p:spPr>
        <p:txBody>
          <a:bodyPr wrap="square" lIns="0" tIns="0" rIns="0" bIns="0" anchor="b" anchorCtr="0">
            <a:spAutoFit/>
          </a:bodyPr>
          <a:lstStyle>
            <a:lvl1pPr>
              <a:defRPr kumimoji="0" lang="en-US" sz="4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3464888"/>
            <a:ext cx="5486400" cy="492443"/>
          </a:xfrm>
          <a:noFill/>
        </p:spPr>
        <p:txBody>
          <a:bodyPr wrap="square" lIns="0" tIns="0" rIns="0" bIns="0">
            <a:spAutoFit/>
          </a:bodyPr>
          <a:lstStyle>
            <a:lvl1pPr marL="0" indent="0">
              <a:spcBef>
                <a:spcPts val="0"/>
              </a:spcBef>
              <a:buNone/>
              <a:defRPr kumimoji="0" lang="en-US" sz="32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298751"/>
            <a:ext cx="5486400" cy="1255728"/>
          </a:xfrm>
        </p:spPr>
        <p:txBody>
          <a:bodyPr/>
          <a:lstStyle>
            <a:lvl1pPr marL="0" indent="0">
              <a:spcBef>
                <a:spcPts val="24"/>
              </a:spcBef>
              <a:buNone/>
              <a:defRPr kumimoji="0" lang="en-US" sz="24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1273521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ver 5">
    <p:bg>
      <p:bgPr>
        <a:solidFill>
          <a:schemeClr val="bg1"/>
        </a:solidFill>
        <a:effectLst/>
      </p:bgPr>
    </p:bg>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1067BC7C-A773-9F81-5271-6D864B0795C1}"/>
              </a:ext>
            </a:extLst>
          </p:cNvPr>
          <p:cNvSpPr/>
          <p:nvPr userDrawn="1"/>
        </p:nvSpPr>
        <p:spPr>
          <a:xfrm>
            <a:off x="0" y="-3432"/>
            <a:ext cx="12192000" cy="6864864"/>
          </a:xfrm>
          <a:custGeom>
            <a:avLst/>
            <a:gdLst>
              <a:gd name="connsiteX0" fmla="*/ 0 w 12192000"/>
              <a:gd name="connsiteY0" fmla="*/ 0 h 6864864"/>
              <a:gd name="connsiteX1" fmla="*/ 12192000 w 12192000"/>
              <a:gd name="connsiteY1" fmla="*/ 0 h 6864864"/>
              <a:gd name="connsiteX2" fmla="*/ 12192000 w 12192000"/>
              <a:gd name="connsiteY2" fmla="*/ 6864864 h 6864864"/>
              <a:gd name="connsiteX3" fmla="*/ 0 w 12192000"/>
              <a:gd name="connsiteY3" fmla="*/ 6864864 h 6864864"/>
            </a:gdLst>
            <a:ahLst/>
            <a:cxnLst>
              <a:cxn ang="0">
                <a:pos x="connsiteX0" y="connsiteY0"/>
              </a:cxn>
              <a:cxn ang="0">
                <a:pos x="connsiteX1" y="connsiteY1"/>
              </a:cxn>
              <a:cxn ang="0">
                <a:pos x="connsiteX2" y="connsiteY2"/>
              </a:cxn>
              <a:cxn ang="0">
                <a:pos x="connsiteX3" y="connsiteY3"/>
              </a:cxn>
            </a:cxnLst>
            <a:rect l="l" t="t" r="r" b="b"/>
            <a:pathLst>
              <a:path w="12192000" h="6864864">
                <a:moveTo>
                  <a:pt x="0" y="0"/>
                </a:moveTo>
                <a:lnTo>
                  <a:pt x="12192000" y="0"/>
                </a:lnTo>
                <a:lnTo>
                  <a:pt x="12192000" y="6864864"/>
                </a:lnTo>
                <a:lnTo>
                  <a:pt x="0" y="6864864"/>
                </a:lnTo>
                <a:close/>
              </a:path>
            </a:pathLst>
          </a:custGeom>
          <a:gradFill flip="none" rotWithShape="1">
            <a:gsLst>
              <a:gs pos="0">
                <a:schemeClr val="bg2"/>
              </a:gs>
              <a:gs pos="79000">
                <a:schemeClr val="bg2">
                  <a:lumMod val="50000"/>
                </a:schemeClr>
              </a:gs>
            </a:gsLst>
            <a:lin ang="13500000" scaled="1"/>
            <a:tileRect/>
          </a:gra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F7663A97-211B-4782-DB90-8D7208B8FC2B}"/>
              </a:ext>
            </a:extLst>
          </p:cNvPr>
          <p:cNvSpPr/>
          <p:nvPr userDrawn="1"/>
        </p:nvSpPr>
        <p:spPr bwMode="auto">
          <a:xfrm>
            <a:off x="0" y="3962400"/>
            <a:ext cx="7689741" cy="2297780"/>
          </a:xfrm>
          <a:custGeom>
            <a:avLst/>
            <a:gdLst>
              <a:gd name="connsiteX0" fmla="*/ 0 w 7689741"/>
              <a:gd name="connsiteY0" fmla="*/ 0 h 2297780"/>
              <a:gd name="connsiteX1" fmla="*/ 7689741 w 7689741"/>
              <a:gd name="connsiteY1" fmla="*/ 0 h 2297780"/>
              <a:gd name="connsiteX2" fmla="*/ 5376932 w 7689741"/>
              <a:gd name="connsiteY2" fmla="*/ 2297780 h 2297780"/>
              <a:gd name="connsiteX3" fmla="*/ 0 w 7689741"/>
              <a:gd name="connsiteY3" fmla="*/ 2297780 h 2297780"/>
              <a:gd name="connsiteX4" fmla="*/ 0 w 7689741"/>
              <a:gd name="connsiteY4" fmla="*/ 0 h 2297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9741" h="2297780">
                <a:moveTo>
                  <a:pt x="0" y="0"/>
                </a:moveTo>
                <a:lnTo>
                  <a:pt x="7689741" y="0"/>
                </a:lnTo>
                <a:lnTo>
                  <a:pt x="5376932" y="2297780"/>
                </a:lnTo>
                <a:lnTo>
                  <a:pt x="0" y="2297780"/>
                </a:lnTo>
                <a:lnTo>
                  <a:pt x="0" y="0"/>
                </a:lnTo>
                <a:close/>
              </a:path>
            </a:pathLst>
          </a:custGeom>
          <a:gradFill flip="none" rotWithShape="1">
            <a:gsLst>
              <a:gs pos="0">
                <a:schemeClr val="bg2">
                  <a:lumMod val="75000"/>
                </a:schemeClr>
              </a:gs>
              <a:gs pos="69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72941A31-60B9-B997-30A8-CB6BB4564D02}"/>
              </a:ext>
            </a:extLst>
          </p:cNvPr>
          <p:cNvGrpSpPr/>
          <p:nvPr userDrawn="1"/>
        </p:nvGrpSpPr>
        <p:grpSpPr>
          <a:xfrm>
            <a:off x="604894" y="597820"/>
            <a:ext cx="3084456" cy="292608"/>
            <a:chOff x="604894" y="597820"/>
            <a:chExt cx="3084456" cy="292608"/>
          </a:xfrm>
        </p:grpSpPr>
        <p:pic>
          <p:nvPicPr>
            <p:cNvPr id="32" name="Graphic 31" descr="Microsoft Power Platform logo">
              <a:extLst>
                <a:ext uri="{FF2B5EF4-FFF2-40B4-BE49-F238E27FC236}">
                  <a16:creationId xmlns:a16="http://schemas.microsoft.com/office/drawing/2014/main" id="{C26F65A8-BC3C-8854-C76A-F2F834B9AA70}"/>
                </a:ext>
                <a:ext uri="{C183D7F6-B498-43B3-948B-1728B52AA6E4}">
                  <adec:decorative xmlns:adec="http://schemas.microsoft.com/office/drawing/2017/decorative" val="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89499"/>
            <a:stretch/>
          </p:blipFill>
          <p:spPr>
            <a:xfrm>
              <a:off x="604894" y="597820"/>
              <a:ext cx="322206" cy="292608"/>
            </a:xfrm>
            <a:prstGeom prst="rect">
              <a:avLst/>
            </a:prstGeom>
          </p:spPr>
        </p:pic>
        <p:pic>
          <p:nvPicPr>
            <p:cNvPr id="33" name="Graphic 32" descr="Microsoft Power Platform logo">
              <a:extLst>
                <a:ext uri="{FF2B5EF4-FFF2-40B4-BE49-F238E27FC236}">
                  <a16:creationId xmlns:a16="http://schemas.microsoft.com/office/drawing/2014/main" id="{F8D9193D-3E4B-5CB3-9662-2206A3EE0255}"/>
                </a:ext>
                <a:ext uri="{C183D7F6-B498-43B3-948B-1728B52AA6E4}">
                  <adec:decorative xmlns:adec="http://schemas.microsoft.com/office/drawing/2017/decorative" val="0"/>
                </a:ext>
              </a:extLst>
            </p:cNvPr>
            <p:cNvPicPr>
              <a:picLocks noChangeAspect="1"/>
            </p:cNvPicPr>
            <p:nvPr/>
          </p:nvPicPr>
          <p:blipFill rotWithShape="1">
            <a:blip r:embed="rId2">
              <a:lum bright="100000"/>
              <a:extLst>
                <a:ext uri="{96DAC541-7B7A-43D3-8B79-37D633B846F1}">
                  <asvg:svgBlip xmlns:asvg="http://schemas.microsoft.com/office/drawing/2016/SVG/main" r:embed="rId3"/>
                </a:ext>
              </a:extLst>
            </a:blip>
            <a:srcRect l="11123" r="-527"/>
            <a:stretch/>
          </p:blipFill>
          <p:spPr>
            <a:xfrm>
              <a:off x="946150" y="597820"/>
              <a:ext cx="2743200" cy="292608"/>
            </a:xfrm>
            <a:prstGeom prst="rect">
              <a:avLst/>
            </a:prstGeom>
          </p:spPr>
        </p:pic>
      </p:grpSp>
      <p:sp>
        <p:nvSpPr>
          <p:cNvPr id="9" name="Title 1"/>
          <p:cNvSpPr>
            <a:spLocks noGrp="1"/>
          </p:cNvSpPr>
          <p:nvPr>
            <p:ph type="title" hasCustomPrompt="1"/>
          </p:nvPr>
        </p:nvSpPr>
        <p:spPr>
          <a:xfrm>
            <a:off x="604894" y="1885586"/>
            <a:ext cx="6843656" cy="1661993"/>
          </a:xfrm>
          <a:noFill/>
        </p:spPr>
        <p:txBody>
          <a:bodyPr wrap="square" lIns="0" tIns="0" rIns="0" bIns="0" anchor="b" anchorCtr="0">
            <a:spAutoFit/>
          </a:bodyPr>
          <a:lstStyle>
            <a:lvl1pPr>
              <a:defRPr kumimoji="0" lang="en-US" sz="5400" b="0" i="0" u="none" strike="noStrike" kern="1200" cap="none" spc="0" normalizeH="0" baseline="0" dirty="0">
                <a:ln>
                  <a:noFill/>
                </a:ln>
                <a:solidFill>
                  <a:schemeClr val="bg1"/>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604894" y="4341585"/>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939193"/>
            <a:ext cx="5486400" cy="941796"/>
          </a:xfrm>
        </p:spPr>
        <p:txBody>
          <a:bodyPr/>
          <a:lstStyle>
            <a:lvl1pPr marL="0" indent="0">
              <a:spcBef>
                <a:spcPts val="24"/>
              </a:spcBef>
              <a:buNone/>
              <a:defRPr kumimoji="0" lang="en-US" sz="1800" b="0" i="0" u="none" strike="noStrike" kern="1200" cap="none" spc="0" normalizeH="0" baseline="0" dirty="0">
                <a:ln>
                  <a:noFill/>
                </a:ln>
                <a:solidFill>
                  <a:srgbClr val="FFFFFF"/>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
        <p:nvSpPr>
          <p:cNvPr id="4" name="Free-form: Shape 3">
            <a:extLst>
              <a:ext uri="{FF2B5EF4-FFF2-40B4-BE49-F238E27FC236}">
                <a16:creationId xmlns:a16="http://schemas.microsoft.com/office/drawing/2014/main" id="{FFA50941-9749-E449-4B27-E57EEC8DD5F3}"/>
              </a:ext>
            </a:extLst>
          </p:cNvPr>
          <p:cNvSpPr/>
          <p:nvPr userDrawn="1"/>
        </p:nvSpPr>
        <p:spPr bwMode="auto">
          <a:xfrm>
            <a:off x="7436274" y="-3432"/>
            <a:ext cx="4427515" cy="6864864"/>
          </a:xfrm>
          <a:custGeom>
            <a:avLst/>
            <a:gdLst>
              <a:gd name="connsiteX0" fmla="*/ 1789133 w 4427515"/>
              <a:gd name="connsiteY0" fmla="*/ 861707 h 6864864"/>
              <a:gd name="connsiteX1" fmla="*/ 4427515 w 4427515"/>
              <a:gd name="connsiteY1" fmla="*/ 3493895 h 6864864"/>
              <a:gd name="connsiteX2" fmla="*/ 1048613 w 4427515"/>
              <a:gd name="connsiteY2" fmla="*/ 6864864 h 6864864"/>
              <a:gd name="connsiteX3" fmla="*/ 123215 w 4427515"/>
              <a:gd name="connsiteY3" fmla="*/ 6864864 h 6864864"/>
              <a:gd name="connsiteX4" fmla="*/ 3502117 w 4427515"/>
              <a:gd name="connsiteY4" fmla="*/ 3493895 h 6864864"/>
              <a:gd name="connsiteX5" fmla="*/ 1326978 w 4427515"/>
              <a:gd name="connsiteY5" fmla="*/ 1323862 h 6864864"/>
              <a:gd name="connsiteX6" fmla="*/ 0 w 4427515"/>
              <a:gd name="connsiteY6" fmla="*/ 0 h 6864864"/>
              <a:gd name="connsiteX7" fmla="*/ 925398 w 4427515"/>
              <a:gd name="connsiteY7" fmla="*/ 0 h 6864864"/>
              <a:gd name="connsiteX8" fmla="*/ 1146848 w 4427515"/>
              <a:gd name="connsiteY8" fmla="*/ 220930 h 6864864"/>
              <a:gd name="connsiteX9" fmla="*/ 684693 w 4427515"/>
              <a:gd name="connsiteY9" fmla="*/ 683085 h 686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7515" h="6864864">
                <a:moveTo>
                  <a:pt x="1789133" y="861707"/>
                </a:moveTo>
                <a:lnTo>
                  <a:pt x="4427515" y="3493895"/>
                </a:lnTo>
                <a:lnTo>
                  <a:pt x="1048613" y="6864864"/>
                </a:lnTo>
                <a:lnTo>
                  <a:pt x="123215" y="6864864"/>
                </a:lnTo>
                <a:lnTo>
                  <a:pt x="3502117" y="3493895"/>
                </a:lnTo>
                <a:lnTo>
                  <a:pt x="1326978" y="1323862"/>
                </a:lnTo>
                <a:close/>
                <a:moveTo>
                  <a:pt x="0" y="0"/>
                </a:moveTo>
                <a:lnTo>
                  <a:pt x="925398" y="0"/>
                </a:lnTo>
                <a:lnTo>
                  <a:pt x="1146848" y="220930"/>
                </a:lnTo>
                <a:lnTo>
                  <a:pt x="684693" y="683085"/>
                </a:lnTo>
                <a:close/>
              </a:path>
            </a:pathLst>
          </a:custGeom>
          <a:gradFill flip="none" rotWithShape="1">
            <a:gsLst>
              <a:gs pos="58000">
                <a:schemeClr val="bg2">
                  <a:lumMod val="75000"/>
                </a:schemeClr>
              </a:gs>
              <a:gs pos="100000">
                <a:schemeClr val="bg2">
                  <a:lumMod val="75000"/>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85FAB7B8-87AF-BFFD-9EF8-D4760A0DDFAA}"/>
              </a:ext>
            </a:extLst>
          </p:cNvPr>
          <p:cNvSpPr/>
          <p:nvPr userDrawn="1"/>
        </p:nvSpPr>
        <p:spPr bwMode="auto">
          <a:xfrm>
            <a:off x="4775200" y="-3432"/>
            <a:ext cx="7416800" cy="6861432"/>
          </a:xfrm>
          <a:custGeom>
            <a:avLst/>
            <a:gdLst>
              <a:gd name="connsiteX0" fmla="*/ 3910617 w 7416800"/>
              <a:gd name="connsiteY0" fmla="*/ 0 h 6861432"/>
              <a:gd name="connsiteX1" fmla="*/ 6331089 w 7416800"/>
              <a:gd name="connsiteY1" fmla="*/ 0 h 6861432"/>
              <a:gd name="connsiteX2" fmla="*/ 7416800 w 7416800"/>
              <a:gd name="connsiteY2" fmla="*/ 1078655 h 6861432"/>
              <a:gd name="connsiteX3" fmla="*/ 7416800 w 7416800"/>
              <a:gd name="connsiteY3" fmla="*/ 1897573 h 6861432"/>
              <a:gd name="connsiteX4" fmla="*/ 2420472 w 7416800"/>
              <a:gd name="connsiteY4" fmla="*/ 6861432 h 6861432"/>
              <a:gd name="connsiteX5" fmla="*/ 0 w 7416800"/>
              <a:gd name="connsiteY5" fmla="*/ 6861432 h 6861432"/>
              <a:gd name="connsiteX6" fmla="*/ 5408465 w 7416800"/>
              <a:gd name="connsiteY6" fmla="*/ 1488114 h 686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6800" h="6861432">
                <a:moveTo>
                  <a:pt x="3910617" y="0"/>
                </a:moveTo>
                <a:lnTo>
                  <a:pt x="6331089" y="0"/>
                </a:lnTo>
                <a:lnTo>
                  <a:pt x="7416800" y="1078655"/>
                </a:lnTo>
                <a:lnTo>
                  <a:pt x="7416800" y="1897573"/>
                </a:lnTo>
                <a:lnTo>
                  <a:pt x="2420472" y="6861432"/>
                </a:lnTo>
                <a:lnTo>
                  <a:pt x="0" y="6861432"/>
                </a:lnTo>
                <a:lnTo>
                  <a:pt x="5408465" y="1488114"/>
                </a:lnTo>
                <a:close/>
              </a:path>
            </a:pathLst>
          </a:custGeom>
          <a:gradFill flip="none" rotWithShape="1">
            <a:gsLst>
              <a:gs pos="0">
                <a:schemeClr val="bg2">
                  <a:lumMod val="50000"/>
                </a:schemeClr>
              </a:gs>
              <a:gs pos="100000">
                <a:schemeClr val="bg2">
                  <a:lumMod val="50000"/>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Diamond 12">
            <a:extLst>
              <a:ext uri="{FF2B5EF4-FFF2-40B4-BE49-F238E27FC236}">
                <a16:creationId xmlns:a16="http://schemas.microsoft.com/office/drawing/2014/main" id="{28C9EB09-87DA-8721-20A2-ED61E9585A23}"/>
              </a:ext>
            </a:extLst>
          </p:cNvPr>
          <p:cNvSpPr/>
          <p:nvPr userDrawn="1"/>
        </p:nvSpPr>
        <p:spPr bwMode="auto">
          <a:xfrm>
            <a:off x="7589180" y="4504882"/>
            <a:ext cx="1897720" cy="1897720"/>
          </a:xfrm>
          <a:prstGeom prst="diamond">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6F2B9B44-A761-B9A5-749A-5AF83CA02EC5}"/>
              </a:ext>
            </a:extLst>
          </p:cNvPr>
          <p:cNvSpPr/>
          <p:nvPr userDrawn="1"/>
        </p:nvSpPr>
        <p:spPr bwMode="auto">
          <a:xfrm>
            <a:off x="7975624" y="-3431"/>
            <a:ext cx="4216376" cy="4663101"/>
          </a:xfrm>
          <a:custGeom>
            <a:avLst/>
            <a:gdLst>
              <a:gd name="connsiteX0" fmla="*/ 1488113 w 4216376"/>
              <a:gd name="connsiteY0" fmla="*/ 0 h 4663101"/>
              <a:gd name="connsiteX1" fmla="*/ 4216376 w 4216376"/>
              <a:gd name="connsiteY1" fmla="*/ 0 h 4663101"/>
              <a:gd name="connsiteX2" fmla="*/ 4216376 w 4216376"/>
              <a:gd name="connsiteY2" fmla="*/ 3621713 h 4663101"/>
              <a:gd name="connsiteX3" fmla="*/ 3174988 w 4216376"/>
              <a:gd name="connsiteY3" fmla="*/ 4663101 h 4663101"/>
              <a:gd name="connsiteX4" fmla="*/ 0 w 4216376"/>
              <a:gd name="connsiteY4" fmla="*/ 1488113 h 4663101"/>
              <a:gd name="connsiteX5" fmla="*/ 382797 w 4216376"/>
              <a:gd name="connsiteY5" fmla="*/ 1105316 h 4663101"/>
              <a:gd name="connsiteX6" fmla="*/ 694485 w 4216376"/>
              <a:gd name="connsiteY6" fmla="*/ 1417004 h 4663101"/>
              <a:gd name="connsiteX7" fmla="*/ 1336016 w 4216376"/>
              <a:gd name="connsiteY7" fmla="*/ 775473 h 4663101"/>
              <a:gd name="connsiteX8" fmla="*/ 1024328 w 4216376"/>
              <a:gd name="connsiteY8" fmla="*/ 463785 h 4663101"/>
              <a:gd name="connsiteX0" fmla="*/ 4216376 w 4307816"/>
              <a:gd name="connsiteY0" fmla="*/ 0 h 4663101"/>
              <a:gd name="connsiteX1" fmla="*/ 4216376 w 4307816"/>
              <a:gd name="connsiteY1" fmla="*/ 3621713 h 4663101"/>
              <a:gd name="connsiteX2" fmla="*/ 3174988 w 4307816"/>
              <a:gd name="connsiteY2" fmla="*/ 4663101 h 4663101"/>
              <a:gd name="connsiteX3" fmla="*/ 0 w 4307816"/>
              <a:gd name="connsiteY3" fmla="*/ 1488113 h 4663101"/>
              <a:gd name="connsiteX4" fmla="*/ 382797 w 4307816"/>
              <a:gd name="connsiteY4" fmla="*/ 1105316 h 4663101"/>
              <a:gd name="connsiteX5" fmla="*/ 694485 w 4307816"/>
              <a:gd name="connsiteY5" fmla="*/ 1417004 h 4663101"/>
              <a:gd name="connsiteX6" fmla="*/ 1336016 w 4307816"/>
              <a:gd name="connsiteY6" fmla="*/ 775473 h 4663101"/>
              <a:gd name="connsiteX7" fmla="*/ 1024328 w 4307816"/>
              <a:gd name="connsiteY7" fmla="*/ 463785 h 4663101"/>
              <a:gd name="connsiteX8" fmla="*/ 1488113 w 4307816"/>
              <a:gd name="connsiteY8" fmla="*/ 0 h 4663101"/>
              <a:gd name="connsiteX9" fmla="*/ 4307816 w 4307816"/>
              <a:gd name="connsiteY9" fmla="*/ 91440 h 4663101"/>
              <a:gd name="connsiteX0" fmla="*/ 4216376 w 4216376"/>
              <a:gd name="connsiteY0" fmla="*/ 0 h 4663101"/>
              <a:gd name="connsiteX1" fmla="*/ 4216376 w 4216376"/>
              <a:gd name="connsiteY1" fmla="*/ 3621713 h 4663101"/>
              <a:gd name="connsiteX2" fmla="*/ 3174988 w 4216376"/>
              <a:gd name="connsiteY2" fmla="*/ 4663101 h 4663101"/>
              <a:gd name="connsiteX3" fmla="*/ 0 w 4216376"/>
              <a:gd name="connsiteY3" fmla="*/ 1488113 h 4663101"/>
              <a:gd name="connsiteX4" fmla="*/ 382797 w 4216376"/>
              <a:gd name="connsiteY4" fmla="*/ 1105316 h 4663101"/>
              <a:gd name="connsiteX5" fmla="*/ 694485 w 4216376"/>
              <a:gd name="connsiteY5" fmla="*/ 1417004 h 4663101"/>
              <a:gd name="connsiteX6" fmla="*/ 1336016 w 4216376"/>
              <a:gd name="connsiteY6" fmla="*/ 775473 h 4663101"/>
              <a:gd name="connsiteX7" fmla="*/ 1024328 w 4216376"/>
              <a:gd name="connsiteY7" fmla="*/ 463785 h 4663101"/>
              <a:gd name="connsiteX8" fmla="*/ 1488113 w 4216376"/>
              <a:gd name="connsiteY8" fmla="*/ 0 h 4663101"/>
              <a:gd name="connsiteX0" fmla="*/ 4216376 w 4216376"/>
              <a:gd name="connsiteY0" fmla="*/ 3621713 h 4663101"/>
              <a:gd name="connsiteX1" fmla="*/ 3174988 w 4216376"/>
              <a:gd name="connsiteY1" fmla="*/ 4663101 h 4663101"/>
              <a:gd name="connsiteX2" fmla="*/ 0 w 4216376"/>
              <a:gd name="connsiteY2" fmla="*/ 1488113 h 4663101"/>
              <a:gd name="connsiteX3" fmla="*/ 382797 w 4216376"/>
              <a:gd name="connsiteY3" fmla="*/ 1105316 h 4663101"/>
              <a:gd name="connsiteX4" fmla="*/ 694485 w 4216376"/>
              <a:gd name="connsiteY4" fmla="*/ 1417004 h 4663101"/>
              <a:gd name="connsiteX5" fmla="*/ 1336016 w 4216376"/>
              <a:gd name="connsiteY5" fmla="*/ 775473 h 4663101"/>
              <a:gd name="connsiteX6" fmla="*/ 1024328 w 4216376"/>
              <a:gd name="connsiteY6" fmla="*/ 463785 h 4663101"/>
              <a:gd name="connsiteX7" fmla="*/ 1488113 w 4216376"/>
              <a:gd name="connsiteY7" fmla="*/ 0 h 466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6376" h="4663101">
                <a:moveTo>
                  <a:pt x="4216376" y="3621713"/>
                </a:moveTo>
                <a:lnTo>
                  <a:pt x="3174988" y="4663101"/>
                </a:lnTo>
                <a:lnTo>
                  <a:pt x="0" y="1488113"/>
                </a:lnTo>
                <a:lnTo>
                  <a:pt x="382797" y="1105316"/>
                </a:lnTo>
                <a:lnTo>
                  <a:pt x="694485" y="1417004"/>
                </a:lnTo>
                <a:lnTo>
                  <a:pt x="1336016" y="775473"/>
                </a:lnTo>
                <a:lnTo>
                  <a:pt x="1024328" y="463785"/>
                </a:lnTo>
                <a:lnTo>
                  <a:pt x="1488113" y="0"/>
                </a:lnTo>
              </a:path>
            </a:pathLst>
          </a:custGeom>
          <a:noFill/>
          <a:ln w="127000" cap="rnd">
            <a:solidFill>
              <a:schemeClr val="bg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Diamond 14">
            <a:extLst>
              <a:ext uri="{FF2B5EF4-FFF2-40B4-BE49-F238E27FC236}">
                <a16:creationId xmlns:a16="http://schemas.microsoft.com/office/drawing/2014/main" id="{9C9F5CBC-58F1-15AF-119A-A1B8E949CF33}"/>
              </a:ext>
            </a:extLst>
          </p:cNvPr>
          <p:cNvSpPr/>
          <p:nvPr userDrawn="1"/>
        </p:nvSpPr>
        <p:spPr bwMode="auto">
          <a:xfrm>
            <a:off x="8028578" y="130511"/>
            <a:ext cx="1283062" cy="1283062"/>
          </a:xfrm>
          <a:prstGeom prst="diamond">
            <a:avLst/>
          </a:prstGeom>
          <a:noFill/>
          <a:ln w="1270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bg2">
                  <a:lumMod val="60000"/>
                  <a:lumOff val="40000"/>
                </a:schemeClr>
              </a:solidFill>
              <a:effectLst/>
              <a:uLnTx/>
              <a:uFillTx/>
              <a:latin typeface="Segoe UI"/>
              <a:ea typeface="Segoe UI" pitchFamily="34" charset="0"/>
              <a:cs typeface="Segoe UI" pitchFamily="34" charset="0"/>
            </a:endParaRPr>
          </a:p>
        </p:txBody>
      </p:sp>
      <p:sp>
        <p:nvSpPr>
          <p:cNvPr id="16" name="Diamond 15">
            <a:extLst>
              <a:ext uri="{FF2B5EF4-FFF2-40B4-BE49-F238E27FC236}">
                <a16:creationId xmlns:a16="http://schemas.microsoft.com/office/drawing/2014/main" id="{987EA32E-C453-21B7-9E4A-DB92C0B0EBD5}"/>
              </a:ext>
            </a:extLst>
          </p:cNvPr>
          <p:cNvSpPr/>
          <p:nvPr userDrawn="1"/>
        </p:nvSpPr>
        <p:spPr bwMode="auto">
          <a:xfrm>
            <a:off x="9969522" y="3726553"/>
            <a:ext cx="2362178" cy="2362178"/>
          </a:xfrm>
          <a:prstGeom prst="diamond">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4FED8837-EA82-0134-1B2A-985F3BAB653E}"/>
              </a:ext>
            </a:extLst>
          </p:cNvPr>
          <p:cNvSpPr/>
          <p:nvPr userDrawn="1"/>
        </p:nvSpPr>
        <p:spPr bwMode="auto">
          <a:xfrm>
            <a:off x="9566574" y="5987398"/>
            <a:ext cx="1150822" cy="874035"/>
          </a:xfrm>
          <a:custGeom>
            <a:avLst/>
            <a:gdLst>
              <a:gd name="connsiteX0" fmla="*/ 575411 w 1150822"/>
              <a:gd name="connsiteY0" fmla="*/ 0 h 874035"/>
              <a:gd name="connsiteX1" fmla="*/ 1150822 w 1150822"/>
              <a:gd name="connsiteY1" fmla="*/ 575411 h 874035"/>
              <a:gd name="connsiteX2" fmla="*/ 852198 w 1150822"/>
              <a:gd name="connsiteY2" fmla="*/ 874035 h 874035"/>
              <a:gd name="connsiteX3" fmla="*/ 298624 w 1150822"/>
              <a:gd name="connsiteY3" fmla="*/ 874035 h 874035"/>
              <a:gd name="connsiteX4" fmla="*/ 0 w 1150822"/>
              <a:gd name="connsiteY4" fmla="*/ 575411 h 874035"/>
              <a:gd name="connsiteX0" fmla="*/ 298624 w 1150822"/>
              <a:gd name="connsiteY0" fmla="*/ 874035 h 965475"/>
              <a:gd name="connsiteX1" fmla="*/ 0 w 1150822"/>
              <a:gd name="connsiteY1" fmla="*/ 575411 h 965475"/>
              <a:gd name="connsiteX2" fmla="*/ 575411 w 1150822"/>
              <a:gd name="connsiteY2" fmla="*/ 0 h 965475"/>
              <a:gd name="connsiteX3" fmla="*/ 1150822 w 1150822"/>
              <a:gd name="connsiteY3" fmla="*/ 575411 h 965475"/>
              <a:gd name="connsiteX4" fmla="*/ 852198 w 1150822"/>
              <a:gd name="connsiteY4" fmla="*/ 874035 h 965475"/>
              <a:gd name="connsiteX5" fmla="*/ 390064 w 1150822"/>
              <a:gd name="connsiteY5" fmla="*/ 965475 h 965475"/>
              <a:gd name="connsiteX0" fmla="*/ 298624 w 1150822"/>
              <a:gd name="connsiteY0" fmla="*/ 874035 h 874035"/>
              <a:gd name="connsiteX1" fmla="*/ 0 w 1150822"/>
              <a:gd name="connsiteY1" fmla="*/ 575411 h 874035"/>
              <a:gd name="connsiteX2" fmla="*/ 575411 w 1150822"/>
              <a:gd name="connsiteY2" fmla="*/ 0 h 874035"/>
              <a:gd name="connsiteX3" fmla="*/ 1150822 w 1150822"/>
              <a:gd name="connsiteY3" fmla="*/ 575411 h 874035"/>
              <a:gd name="connsiteX4" fmla="*/ 852198 w 1150822"/>
              <a:gd name="connsiteY4" fmla="*/ 874035 h 874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22" h="874035">
                <a:moveTo>
                  <a:pt x="298624" y="874035"/>
                </a:moveTo>
                <a:lnTo>
                  <a:pt x="0" y="575411"/>
                </a:lnTo>
                <a:lnTo>
                  <a:pt x="575411" y="0"/>
                </a:lnTo>
                <a:lnTo>
                  <a:pt x="1150822" y="575411"/>
                </a:lnTo>
                <a:lnTo>
                  <a:pt x="852198" y="874035"/>
                </a:lnTo>
              </a:path>
            </a:pathLst>
          </a:custGeom>
          <a:noFill/>
          <a:ln w="127000" cap="rnd">
            <a:solidFill>
              <a:schemeClr val="bg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22134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ver 2 (Light)">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4894" y="2182948"/>
            <a:ext cx="5486400" cy="1107996"/>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3600" b="0" kern="1200" cap="none" spc="-5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604894" y="4398497"/>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sp>
        <p:nvSpPr>
          <p:cNvPr id="3" name="Rectangle 2">
            <a:extLst>
              <a:ext uri="{FF2B5EF4-FFF2-40B4-BE49-F238E27FC236}">
                <a16:creationId xmlns:a16="http://schemas.microsoft.com/office/drawing/2014/main" id="{87691690-36F4-A761-184E-4D8B145236EF}"/>
              </a:ext>
            </a:extLst>
          </p:cNvPr>
          <p:cNvSpPr/>
          <p:nvPr userDrawn="1"/>
        </p:nvSpPr>
        <p:spPr bwMode="auto">
          <a:xfrm>
            <a:off x="0" y="3582124"/>
            <a:ext cx="8932366" cy="4224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Freeform: Shape 13">
            <a:extLst>
              <a:ext uri="{FF2B5EF4-FFF2-40B4-BE49-F238E27FC236}">
                <a16:creationId xmlns:a16="http://schemas.microsoft.com/office/drawing/2014/main" id="{06615309-9057-852B-2CB7-FA4544F6C1F8}"/>
              </a:ext>
            </a:extLst>
          </p:cNvPr>
          <p:cNvSpPr/>
          <p:nvPr userDrawn="1"/>
        </p:nvSpPr>
        <p:spPr>
          <a:xfrm>
            <a:off x="6622699" y="2422546"/>
            <a:ext cx="5569302" cy="4499880"/>
          </a:xfrm>
          <a:custGeom>
            <a:avLst/>
            <a:gdLst>
              <a:gd name="connsiteX0" fmla="*/ 2720111 w 2720111"/>
              <a:gd name="connsiteY0" fmla="*/ 521894 h 2197793"/>
              <a:gd name="connsiteX1" fmla="*/ 2720111 w 2720111"/>
              <a:gd name="connsiteY1" fmla="*/ 2197794 h 2197793"/>
              <a:gd name="connsiteX2" fmla="*/ 0 w 2720111"/>
              <a:gd name="connsiteY2" fmla="*/ 2197794 h 2197793"/>
              <a:gd name="connsiteX3" fmla="*/ 2198006 w 2720111"/>
              <a:gd name="connsiteY3" fmla="*/ 0 h 2197793"/>
              <a:gd name="connsiteX4" fmla="*/ 2720111 w 2720111"/>
              <a:gd name="connsiteY4" fmla="*/ 521894 h 219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0111" h="2197793">
                <a:moveTo>
                  <a:pt x="2720111" y="521894"/>
                </a:moveTo>
                <a:lnTo>
                  <a:pt x="2720111" y="2197794"/>
                </a:lnTo>
                <a:lnTo>
                  <a:pt x="0" y="2197794"/>
                </a:lnTo>
                <a:lnTo>
                  <a:pt x="2198006" y="0"/>
                </a:lnTo>
                <a:lnTo>
                  <a:pt x="2720111" y="521894"/>
                </a:lnTo>
                <a:close/>
              </a:path>
            </a:pathLst>
          </a:custGeom>
          <a:solidFill>
            <a:schemeClr val="tx2"/>
          </a:soli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4">
            <a:extLst>
              <a:ext uri="{FF2B5EF4-FFF2-40B4-BE49-F238E27FC236}">
                <a16:creationId xmlns:a16="http://schemas.microsoft.com/office/drawing/2014/main" id="{15B1E47C-0B6D-B977-1542-9E0224F05FAF}"/>
              </a:ext>
            </a:extLst>
          </p:cNvPr>
          <p:cNvSpPr/>
          <p:nvPr userDrawn="1"/>
        </p:nvSpPr>
        <p:spPr>
          <a:xfrm>
            <a:off x="11125181" y="1353992"/>
            <a:ext cx="1066820" cy="2133642"/>
          </a:xfrm>
          <a:custGeom>
            <a:avLst/>
            <a:gdLst>
              <a:gd name="connsiteX0" fmla="*/ 521048 w 521047"/>
              <a:gd name="connsiteY0" fmla="*/ 0 h 1042095"/>
              <a:gd name="connsiteX1" fmla="*/ 521048 w 521047"/>
              <a:gd name="connsiteY1" fmla="*/ 1042096 h 1042095"/>
              <a:gd name="connsiteX2" fmla="*/ 0 w 521047"/>
              <a:gd name="connsiteY2" fmla="*/ 521048 h 1042095"/>
              <a:gd name="connsiteX3" fmla="*/ 521048 w 521047"/>
              <a:gd name="connsiteY3" fmla="*/ 0 h 1042095"/>
            </a:gdLst>
            <a:ahLst/>
            <a:cxnLst>
              <a:cxn ang="0">
                <a:pos x="connsiteX0" y="connsiteY0"/>
              </a:cxn>
              <a:cxn ang="0">
                <a:pos x="connsiteX1" y="connsiteY1"/>
              </a:cxn>
              <a:cxn ang="0">
                <a:pos x="connsiteX2" y="connsiteY2"/>
              </a:cxn>
              <a:cxn ang="0">
                <a:pos x="connsiteX3" y="connsiteY3"/>
              </a:cxn>
            </a:cxnLst>
            <a:rect l="l" t="t" r="r" b="b"/>
            <a:pathLst>
              <a:path w="521047" h="1042095">
                <a:moveTo>
                  <a:pt x="521048" y="0"/>
                </a:moveTo>
                <a:lnTo>
                  <a:pt x="521048" y="1042096"/>
                </a:lnTo>
                <a:lnTo>
                  <a:pt x="0" y="521048"/>
                </a:lnTo>
                <a:lnTo>
                  <a:pt x="521048" y="0"/>
                </a:lnTo>
                <a:close/>
              </a:path>
            </a:pathLst>
          </a:custGeom>
          <a:solidFill>
            <a:schemeClr val="bg2">
              <a:lumMod val="75000"/>
            </a:schemeClr>
          </a:solidFill>
          <a:ln w="137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5">
            <a:extLst>
              <a:ext uri="{FF2B5EF4-FFF2-40B4-BE49-F238E27FC236}">
                <a16:creationId xmlns:a16="http://schemas.microsoft.com/office/drawing/2014/main" id="{6985CF81-637B-5A8C-68C6-0BD66131EB61}"/>
              </a:ext>
            </a:extLst>
          </p:cNvPr>
          <p:cNvSpPr/>
          <p:nvPr userDrawn="1"/>
        </p:nvSpPr>
        <p:spPr>
          <a:xfrm>
            <a:off x="5301192" y="32485"/>
            <a:ext cx="6890809" cy="6889941"/>
          </a:xfrm>
          <a:custGeom>
            <a:avLst/>
            <a:gdLst>
              <a:gd name="connsiteX0" fmla="*/ 0 w 3365550"/>
              <a:gd name="connsiteY0" fmla="*/ 3365127 h 3365126"/>
              <a:gd name="connsiteX1" fmla="*/ 645439 w 3365550"/>
              <a:gd name="connsiteY1" fmla="*/ 3365127 h 3365126"/>
              <a:gd name="connsiteX2" fmla="*/ 3365550 w 3365550"/>
              <a:gd name="connsiteY2" fmla="*/ 645439 h 3365126"/>
              <a:gd name="connsiteX3" fmla="*/ 3365550 w 3365550"/>
              <a:gd name="connsiteY3" fmla="*/ 0 h 3365126"/>
              <a:gd name="connsiteX4" fmla="*/ 0 w 3365550"/>
              <a:gd name="connsiteY4" fmla="*/ 3365127 h 3365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550" h="3365126">
                <a:moveTo>
                  <a:pt x="0" y="3365127"/>
                </a:moveTo>
                <a:lnTo>
                  <a:pt x="645439" y="3365127"/>
                </a:lnTo>
                <a:lnTo>
                  <a:pt x="3365550" y="645439"/>
                </a:lnTo>
                <a:lnTo>
                  <a:pt x="3365550" y="0"/>
                </a:lnTo>
                <a:lnTo>
                  <a:pt x="0" y="3365127"/>
                </a:lnTo>
                <a:close/>
              </a:path>
            </a:pathLst>
          </a:custGeom>
          <a:solidFill>
            <a:schemeClr val="bg2">
              <a:lumMod val="20000"/>
              <a:lumOff val="8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6">
            <a:extLst>
              <a:ext uri="{FF2B5EF4-FFF2-40B4-BE49-F238E27FC236}">
                <a16:creationId xmlns:a16="http://schemas.microsoft.com/office/drawing/2014/main" id="{34FFCCB2-8B0D-E903-03D8-07A6431C42B4}"/>
              </a:ext>
            </a:extLst>
          </p:cNvPr>
          <p:cNvSpPr/>
          <p:nvPr userDrawn="1"/>
        </p:nvSpPr>
        <p:spPr>
          <a:xfrm>
            <a:off x="6013706" y="744999"/>
            <a:ext cx="6178295" cy="6177429"/>
          </a:xfrm>
          <a:custGeom>
            <a:avLst/>
            <a:gdLst>
              <a:gd name="connsiteX0" fmla="*/ 3017551 w 3017550"/>
              <a:gd name="connsiteY0" fmla="*/ 0 h 3017127"/>
              <a:gd name="connsiteX1" fmla="*/ 3017551 w 3017550"/>
              <a:gd name="connsiteY1" fmla="*/ 629361 h 3017127"/>
              <a:gd name="connsiteX2" fmla="*/ 629785 w 3017550"/>
              <a:gd name="connsiteY2" fmla="*/ 3017127 h 3017127"/>
              <a:gd name="connsiteX3" fmla="*/ 0 w 3017550"/>
              <a:gd name="connsiteY3" fmla="*/ 3017127 h 3017127"/>
              <a:gd name="connsiteX4" fmla="*/ 3017551 w 3017550"/>
              <a:gd name="connsiteY4" fmla="*/ 0 h 3017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50" h="3017127">
                <a:moveTo>
                  <a:pt x="3017551" y="0"/>
                </a:moveTo>
                <a:lnTo>
                  <a:pt x="3017551" y="629361"/>
                </a:lnTo>
                <a:lnTo>
                  <a:pt x="629785" y="3017127"/>
                </a:lnTo>
                <a:lnTo>
                  <a:pt x="0" y="3017127"/>
                </a:lnTo>
                <a:lnTo>
                  <a:pt x="3017551" y="0"/>
                </a:lnTo>
                <a:close/>
              </a:path>
            </a:pathLst>
          </a:custGeom>
          <a:solidFill>
            <a:schemeClr val="tx2">
              <a:lumMod val="75000"/>
              <a:alpha val="3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7">
            <a:extLst>
              <a:ext uri="{FF2B5EF4-FFF2-40B4-BE49-F238E27FC236}">
                <a16:creationId xmlns:a16="http://schemas.microsoft.com/office/drawing/2014/main" id="{303CED94-978D-A6B3-1FAE-EE2A373145F8}"/>
              </a:ext>
            </a:extLst>
          </p:cNvPr>
          <p:cNvSpPr/>
          <p:nvPr userDrawn="1"/>
        </p:nvSpPr>
        <p:spPr>
          <a:xfrm>
            <a:off x="7915187" y="0"/>
            <a:ext cx="4276814" cy="6758701"/>
          </a:xfrm>
          <a:custGeom>
            <a:avLst/>
            <a:gdLst>
              <a:gd name="connsiteX0" fmla="*/ 2088846 w 2088845"/>
              <a:gd name="connsiteY0" fmla="*/ 0 h 3301027"/>
              <a:gd name="connsiteX1" fmla="*/ 1212182 w 2088845"/>
              <a:gd name="connsiteY1" fmla="*/ 0 h 3301027"/>
              <a:gd name="connsiteX2" fmla="*/ 0 w 2088845"/>
              <a:gd name="connsiteY2" fmla="*/ 1212182 h 3301027"/>
              <a:gd name="connsiteX3" fmla="*/ 2088846 w 2088845"/>
              <a:gd name="connsiteY3" fmla="*/ 3301027 h 3301027"/>
              <a:gd name="connsiteX4" fmla="*/ 2088846 w 2088845"/>
              <a:gd name="connsiteY4" fmla="*/ 2388612 h 3301027"/>
              <a:gd name="connsiteX5" fmla="*/ 912416 w 2088845"/>
              <a:gd name="connsiteY5" fmla="*/ 1212182 h 3301027"/>
              <a:gd name="connsiteX6" fmla="*/ 2088846 w 2088845"/>
              <a:gd name="connsiteY6" fmla="*/ 35964 h 3301027"/>
              <a:gd name="connsiteX7" fmla="*/ 2088846 w 2088845"/>
              <a:gd name="connsiteY7" fmla="*/ 0 h 330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8845" h="3301027">
                <a:moveTo>
                  <a:pt x="2088846" y="0"/>
                </a:moveTo>
                <a:lnTo>
                  <a:pt x="1212182" y="0"/>
                </a:lnTo>
                <a:lnTo>
                  <a:pt x="0" y="1212182"/>
                </a:lnTo>
                <a:lnTo>
                  <a:pt x="2088846" y="3301027"/>
                </a:lnTo>
                <a:lnTo>
                  <a:pt x="2088846" y="2388612"/>
                </a:lnTo>
                <a:lnTo>
                  <a:pt x="912416" y="1212182"/>
                </a:lnTo>
                <a:lnTo>
                  <a:pt x="2088846" y="35964"/>
                </a:lnTo>
                <a:lnTo>
                  <a:pt x="2088846" y="0"/>
                </a:lnTo>
                <a:close/>
              </a:path>
            </a:pathLst>
          </a:custGeom>
          <a:solidFill>
            <a:schemeClr val="bg2"/>
          </a:solidFill>
          <a:ln w="135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tx2"/>
              </a:solidFill>
              <a:effectLst/>
              <a:uLnTx/>
              <a:uFillTx/>
              <a:latin typeface="Segoe UI"/>
              <a:ea typeface="+mn-ea"/>
              <a:cs typeface="+mn-cs"/>
            </a:endParaRPr>
          </a:p>
        </p:txBody>
      </p:sp>
      <p:sp>
        <p:nvSpPr>
          <p:cNvPr id="17" name="Freeform: Shape 18">
            <a:extLst>
              <a:ext uri="{FF2B5EF4-FFF2-40B4-BE49-F238E27FC236}">
                <a16:creationId xmlns:a16="http://schemas.microsoft.com/office/drawing/2014/main" id="{9A37D814-1ED8-3FA8-04EC-F3776DBB6EC5}"/>
              </a:ext>
            </a:extLst>
          </p:cNvPr>
          <p:cNvSpPr/>
          <p:nvPr userDrawn="1"/>
        </p:nvSpPr>
        <p:spPr>
          <a:xfrm>
            <a:off x="8511618" y="0"/>
            <a:ext cx="2811070" cy="1877223"/>
          </a:xfrm>
          <a:custGeom>
            <a:avLst/>
            <a:gdLst>
              <a:gd name="connsiteX0" fmla="*/ 1372960 w 1372959"/>
              <a:gd name="connsiteY0" fmla="*/ 460333 h 916857"/>
              <a:gd name="connsiteX1" fmla="*/ 916647 w 1372959"/>
              <a:gd name="connsiteY1" fmla="*/ 916858 h 916857"/>
              <a:gd name="connsiteX2" fmla="*/ 0 w 1372959"/>
              <a:gd name="connsiteY2" fmla="*/ 0 h 916857"/>
              <a:gd name="connsiteX3" fmla="*/ 912627 w 1372959"/>
              <a:gd name="connsiteY3" fmla="*/ 0 h 916857"/>
              <a:gd name="connsiteX4" fmla="*/ 1372960 w 1372959"/>
              <a:gd name="connsiteY4" fmla="*/ 460333 h 91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959" h="916857">
                <a:moveTo>
                  <a:pt x="1372960" y="460333"/>
                </a:moveTo>
                <a:lnTo>
                  <a:pt x="916647" y="916858"/>
                </a:lnTo>
                <a:lnTo>
                  <a:pt x="0" y="0"/>
                </a:lnTo>
                <a:lnTo>
                  <a:pt x="912627" y="0"/>
                </a:lnTo>
                <a:lnTo>
                  <a:pt x="1372960" y="460333"/>
                </a:lnTo>
                <a:close/>
              </a:path>
            </a:pathLst>
          </a:custGeom>
          <a:solidFill>
            <a:schemeClr val="bg2">
              <a:lumMod val="50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9">
            <a:extLst>
              <a:ext uri="{FF2B5EF4-FFF2-40B4-BE49-F238E27FC236}">
                <a16:creationId xmlns:a16="http://schemas.microsoft.com/office/drawing/2014/main" id="{048EE216-B380-DCBB-4D5A-28CCD259FE2D}"/>
              </a:ext>
            </a:extLst>
          </p:cNvPr>
          <p:cNvSpPr/>
          <p:nvPr userDrawn="1"/>
        </p:nvSpPr>
        <p:spPr>
          <a:xfrm>
            <a:off x="7589900" y="0"/>
            <a:ext cx="3271932" cy="2338084"/>
          </a:xfrm>
          <a:custGeom>
            <a:avLst/>
            <a:gdLst>
              <a:gd name="connsiteX0" fmla="*/ 1598049 w 1598049"/>
              <a:gd name="connsiteY0" fmla="*/ 685634 h 1141947"/>
              <a:gd name="connsiteX1" fmla="*/ 1141524 w 1598049"/>
              <a:gd name="connsiteY1" fmla="*/ 1141947 h 1141947"/>
              <a:gd name="connsiteX2" fmla="*/ 0 w 1598049"/>
              <a:gd name="connsiteY2" fmla="*/ 0 h 1141947"/>
              <a:gd name="connsiteX3" fmla="*/ 912416 w 1598049"/>
              <a:gd name="connsiteY3" fmla="*/ 0 h 1141947"/>
              <a:gd name="connsiteX4" fmla="*/ 1598049 w 1598049"/>
              <a:gd name="connsiteY4" fmla="*/ 685634 h 1141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8049" h="1141947">
                <a:moveTo>
                  <a:pt x="1598049" y="685634"/>
                </a:moveTo>
                <a:lnTo>
                  <a:pt x="1141524" y="1141947"/>
                </a:lnTo>
                <a:lnTo>
                  <a:pt x="0" y="0"/>
                </a:lnTo>
                <a:lnTo>
                  <a:pt x="912416" y="0"/>
                </a:lnTo>
                <a:lnTo>
                  <a:pt x="1598049" y="685634"/>
                </a:lnTo>
                <a:close/>
              </a:path>
            </a:pathLst>
          </a:custGeom>
          <a:solidFill>
            <a:schemeClr val="bg1">
              <a:lumMod val="95000"/>
            </a:schemeClr>
          </a:solidFill>
          <a:ln w="211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B2583B6A-9D33-6E0B-EE11-C4EA9408F207}"/>
              </a:ext>
            </a:extLst>
          </p:cNvPr>
          <p:cNvSpPr/>
          <p:nvPr userDrawn="1"/>
        </p:nvSpPr>
        <p:spPr bwMode="auto">
          <a:xfrm>
            <a:off x="604894" y="1952646"/>
            <a:ext cx="1033406" cy="1174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604894" y="3639437"/>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000000"/>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Tree>
    <p:extLst>
      <p:ext uri="{BB962C8B-B14F-4D97-AF65-F5344CB8AC3E}">
        <p14:creationId xmlns:p14="http://schemas.microsoft.com/office/powerpoint/2010/main" val="3692149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4946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ver 3 (Light)">
    <p:bg>
      <p:bgPr>
        <a:solidFill>
          <a:schemeClr val="bg1"/>
        </a:solidFill>
        <a:effectLst/>
      </p:bgPr>
    </p:bg>
    <p:spTree>
      <p:nvGrpSpPr>
        <p:cNvPr id="1" name=""/>
        <p:cNvGrpSpPr/>
        <p:nvPr/>
      </p:nvGrpSpPr>
      <p:grpSpPr>
        <a:xfrm>
          <a:off x="0" y="0"/>
          <a:ext cx="0" cy="0"/>
          <a:chOff x="0" y="0"/>
          <a:chExt cx="0" cy="0"/>
        </a:xfrm>
      </p:grpSpPr>
      <p:pic>
        <p:nvPicPr>
          <p:cNvPr id="2" name="Graphic 1" descr="Microsoft Power Platform logo">
            <a:extLst>
              <a:ext uri="{FF2B5EF4-FFF2-40B4-BE49-F238E27FC236}">
                <a16:creationId xmlns:a16="http://schemas.microsoft.com/office/drawing/2014/main" id="{6300AC69-214E-ECBA-3398-D1A4679FBECF}"/>
              </a:ext>
              <a:ext uri="{C183D7F6-B498-43B3-948B-1728B52AA6E4}">
                <adec:decorative xmlns:adec="http://schemas.microsoft.com/office/drawing/2017/decorative" val="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894" y="597820"/>
            <a:ext cx="3068320" cy="292608"/>
          </a:xfrm>
          <a:prstGeom prst="rect">
            <a:avLst/>
          </a:prstGeom>
        </p:spPr>
      </p:pic>
      <p:pic>
        <p:nvPicPr>
          <p:cNvPr id="4" name="Graphic 3">
            <a:extLst>
              <a:ext uri="{FF2B5EF4-FFF2-40B4-BE49-F238E27FC236}">
                <a16:creationId xmlns:a16="http://schemas.microsoft.com/office/drawing/2014/main" id="{E083E474-2D93-03F6-E624-8032165EA877}"/>
              </a:ext>
            </a:extLst>
          </p:cNvPr>
          <p:cNvPicPr>
            <a:picLocks noChangeAspect="1"/>
          </p:cNvPicPr>
          <p:nvPr userDrawn="1"/>
        </p:nvPicPr>
        <p:blipFill>
          <a:blip r:embed="rId4">
            <a:grayscl/>
            <a:alphaModFix amt="4000"/>
            <a:extLst>
              <a:ext uri="{96DAC541-7B7A-43D3-8B79-37D633B846F1}">
                <asvg:svgBlip xmlns:asvg="http://schemas.microsoft.com/office/drawing/2016/SVG/main" r:embed="rId5"/>
              </a:ext>
            </a:extLst>
          </a:blip>
          <a:srcRect l="42275" r="2049"/>
          <a:stretch>
            <a:fillRect/>
          </a:stretch>
        </p:blipFill>
        <p:spPr>
          <a:xfrm rot="18415104" flipH="1">
            <a:off x="1641996" y="482334"/>
            <a:ext cx="12175124" cy="7556328"/>
          </a:xfrm>
          <a:custGeom>
            <a:avLst/>
            <a:gdLst>
              <a:gd name="connsiteX0" fmla="*/ 0 w 12175124"/>
              <a:gd name="connsiteY0" fmla="*/ 4787786 h 7556328"/>
              <a:gd name="connsiteX1" fmla="*/ 3597176 w 12175124"/>
              <a:gd name="connsiteY1" fmla="*/ 0 h 7556328"/>
              <a:gd name="connsiteX2" fmla="*/ 12175124 w 12175124"/>
              <a:gd name="connsiteY2" fmla="*/ 0 h 7556328"/>
              <a:gd name="connsiteX3" fmla="*/ 6497877 w 12175124"/>
              <a:gd name="connsiteY3" fmla="*/ 7556328 h 7556328"/>
              <a:gd name="connsiteX4" fmla="*/ 3684886 w 12175124"/>
              <a:gd name="connsiteY4" fmla="*/ 7556328 h 75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5124" h="7556328">
                <a:moveTo>
                  <a:pt x="0" y="4787786"/>
                </a:moveTo>
                <a:lnTo>
                  <a:pt x="3597176" y="0"/>
                </a:lnTo>
                <a:lnTo>
                  <a:pt x="12175124" y="0"/>
                </a:lnTo>
                <a:lnTo>
                  <a:pt x="6497877" y="7556328"/>
                </a:lnTo>
                <a:lnTo>
                  <a:pt x="3684886" y="7556328"/>
                </a:lnTo>
                <a:close/>
              </a:path>
            </a:pathLst>
          </a:custGeom>
        </p:spPr>
      </p:pic>
      <p:sp>
        <p:nvSpPr>
          <p:cNvPr id="6" name="Free-form: Shape 5">
            <a:extLst>
              <a:ext uri="{FF2B5EF4-FFF2-40B4-BE49-F238E27FC236}">
                <a16:creationId xmlns:a16="http://schemas.microsoft.com/office/drawing/2014/main" id="{6CE446BC-1085-B6B0-C786-19B8B12A4D7F}"/>
              </a:ext>
            </a:extLst>
          </p:cNvPr>
          <p:cNvSpPr/>
          <p:nvPr userDrawn="1"/>
        </p:nvSpPr>
        <p:spPr bwMode="auto">
          <a:xfrm flipH="1">
            <a:off x="2270754" y="1643743"/>
            <a:ext cx="9052565" cy="4365172"/>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 name="connsiteX0" fmla="*/ 0 w 4343400"/>
              <a:gd name="connsiteY0" fmla="*/ 1473200 h 1473200"/>
              <a:gd name="connsiteX1" fmla="*/ 0 w 4343400"/>
              <a:gd name="connsiteY1" fmla="*/ 0 h 1473200"/>
              <a:gd name="connsiteX2" fmla="*/ 4343400 w 4343400"/>
              <a:gd name="connsiteY2" fmla="*/ 0 h 1473200"/>
            </a:gdLst>
            <a:ahLst/>
            <a:cxnLst>
              <a:cxn ang="0">
                <a:pos x="connsiteX0" y="connsiteY0"/>
              </a:cxn>
              <a:cxn ang="0">
                <a:pos x="connsiteX1" y="connsiteY1"/>
              </a:cxn>
              <a:cxn ang="0">
                <a:pos x="connsiteX2" y="connsiteY2"/>
              </a:cxn>
            </a:cxnLst>
            <a:rect l="l" t="t" r="r" b="b"/>
            <a:pathLst>
              <a:path w="4343400" h="1473200">
                <a:moveTo>
                  <a:pt x="0" y="1473200"/>
                </a:moveTo>
                <a:lnTo>
                  <a:pt x="0" y="0"/>
                </a:lnTo>
                <a:lnTo>
                  <a:pt x="4343400" y="0"/>
                </a:lnTo>
              </a:path>
            </a:pathLst>
          </a:custGeom>
          <a:noFill/>
          <a:ln w="6350" cap="rnd">
            <a:solidFill>
              <a:schemeClr val="bg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E7A7ACAA-7CED-14F7-AC14-7AA34C19D311}"/>
              </a:ext>
            </a:extLst>
          </p:cNvPr>
          <p:cNvGrpSpPr/>
          <p:nvPr userDrawn="1"/>
        </p:nvGrpSpPr>
        <p:grpSpPr>
          <a:xfrm>
            <a:off x="0" y="1857798"/>
            <a:ext cx="1999622" cy="1111528"/>
            <a:chOff x="0" y="2143857"/>
            <a:chExt cx="1647336" cy="915703"/>
          </a:xfrm>
          <a:solidFill>
            <a:schemeClr val="bg1">
              <a:lumMod val="95000"/>
            </a:schemeClr>
          </a:solidFill>
        </p:grpSpPr>
        <p:grpSp>
          <p:nvGrpSpPr>
            <p:cNvPr id="10" name="Group 9">
              <a:extLst>
                <a:ext uri="{FF2B5EF4-FFF2-40B4-BE49-F238E27FC236}">
                  <a16:creationId xmlns:a16="http://schemas.microsoft.com/office/drawing/2014/main" id="{E2512CC7-AD4E-0DD6-8761-D76C2A813F2A}"/>
                </a:ext>
              </a:extLst>
            </p:cNvPr>
            <p:cNvGrpSpPr/>
            <p:nvPr/>
          </p:nvGrpSpPr>
          <p:grpSpPr>
            <a:xfrm>
              <a:off x="0" y="2356582"/>
              <a:ext cx="1647336" cy="64803"/>
              <a:chOff x="0" y="2352485"/>
              <a:chExt cx="1647336" cy="64803"/>
            </a:xfrm>
            <a:grpFill/>
          </p:grpSpPr>
          <p:sp>
            <p:nvSpPr>
              <p:cNvPr id="59" name="Oval 58">
                <a:extLst>
                  <a:ext uri="{FF2B5EF4-FFF2-40B4-BE49-F238E27FC236}">
                    <a16:creationId xmlns:a16="http://schemas.microsoft.com/office/drawing/2014/main" id="{7D1A037A-CEE9-2F20-DF1C-FE9A26019C81}"/>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DF523661-AD4B-7473-22A0-B07EA8B18CF3}"/>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D7654F09-F922-54EE-5ACC-2CC4276C0081}"/>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92DC399E-ADEC-2741-B9A4-F77133432C07}"/>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37F024E9-2BC9-7874-F21F-F1FB66F4D29D}"/>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856C7F18-DBDF-B629-6760-5BFA92ABD735}"/>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875D8325-05BE-6DD7-48E8-AE19A5E4DAB0}"/>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AF0CDA91-46B4-40C5-08A8-BDEF8F9C3EFA}"/>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4159C8F1-3866-08AA-DBAF-818D9708969E}"/>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644C65B9-4B78-DAC3-651F-296244D876C7}"/>
                </a:ext>
              </a:extLst>
            </p:cNvPr>
            <p:cNvGrpSpPr/>
            <p:nvPr/>
          </p:nvGrpSpPr>
          <p:grpSpPr>
            <a:xfrm>
              <a:off x="0" y="2569307"/>
              <a:ext cx="1647336" cy="64803"/>
              <a:chOff x="0" y="2561113"/>
              <a:chExt cx="1647336" cy="64803"/>
            </a:xfrm>
            <a:grpFill/>
          </p:grpSpPr>
          <p:sp>
            <p:nvSpPr>
              <p:cNvPr id="50" name="Oval 49">
                <a:extLst>
                  <a:ext uri="{FF2B5EF4-FFF2-40B4-BE49-F238E27FC236}">
                    <a16:creationId xmlns:a16="http://schemas.microsoft.com/office/drawing/2014/main" id="{370DA5D0-7931-BA78-691D-22693942D2F1}"/>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44060AF-5E99-705C-C0AF-FD220E66652B}"/>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FA9EDADF-22C1-2331-0DFC-DCE8152D8B13}"/>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77139504-DCE6-64B8-7ABD-3BC6274888E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15831C21-7379-8654-824E-36019B733E20}"/>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C33713FC-1CC6-65A0-1D2C-53DCFB92EB23}"/>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589A2EBB-E46D-C79F-A772-103A88493792}"/>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F84CFAA5-C901-DA64-4301-65BA55DC4C9D}"/>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69416453-1319-5703-E4B1-0A398B3E0B6D}"/>
                  </a:ext>
                </a:extLst>
              </p:cNvPr>
              <p:cNvSpPr/>
              <p:nvPr/>
            </p:nvSpPr>
            <p:spPr bwMode="auto">
              <a:xfrm>
                <a:off x="98908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75A2E959-5DAD-6810-E70E-9671474C360D}"/>
                </a:ext>
              </a:extLst>
            </p:cNvPr>
            <p:cNvGrpSpPr/>
            <p:nvPr/>
          </p:nvGrpSpPr>
          <p:grpSpPr>
            <a:xfrm>
              <a:off x="0" y="2143857"/>
              <a:ext cx="1647336" cy="64803"/>
              <a:chOff x="0" y="2143857"/>
              <a:chExt cx="1647336" cy="64803"/>
            </a:xfrm>
            <a:grpFill/>
          </p:grpSpPr>
          <p:sp>
            <p:nvSpPr>
              <p:cNvPr id="41" name="Oval 40">
                <a:extLst>
                  <a:ext uri="{FF2B5EF4-FFF2-40B4-BE49-F238E27FC236}">
                    <a16:creationId xmlns:a16="http://schemas.microsoft.com/office/drawing/2014/main" id="{B1B60CB3-E051-F18F-795E-153B8661E04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6271ED59-18AD-BB11-8A40-A541A46B6139}"/>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2F75A833-1FC3-0C71-D380-178DE4E68234}"/>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9359B67-5F1E-C317-4147-B24F70374053}"/>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E1DFDF77-C56B-EC48-3D58-E2FA5B4C70D9}"/>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8697244E-D21C-88A8-45B8-CA3EB8709BD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A175BF42-5005-B157-631B-0B595EC9616C}"/>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80422301-E306-48BD-F945-2277A2B79120}"/>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1A3776E-AAA8-7800-0579-EF76E368C1C1}"/>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571FE104-AA7C-F4DD-0D9E-16503144E9ED}"/>
                </a:ext>
              </a:extLst>
            </p:cNvPr>
            <p:cNvGrpSpPr/>
            <p:nvPr/>
          </p:nvGrpSpPr>
          <p:grpSpPr>
            <a:xfrm>
              <a:off x="0" y="2782032"/>
              <a:ext cx="1647336" cy="64803"/>
              <a:chOff x="0" y="2769740"/>
              <a:chExt cx="1647336" cy="64803"/>
            </a:xfrm>
            <a:grpFill/>
          </p:grpSpPr>
          <p:sp>
            <p:nvSpPr>
              <p:cNvPr id="32" name="Oval 31">
                <a:extLst>
                  <a:ext uri="{FF2B5EF4-FFF2-40B4-BE49-F238E27FC236}">
                    <a16:creationId xmlns:a16="http://schemas.microsoft.com/office/drawing/2014/main" id="{6924F270-20EF-8D3E-76E4-1CAF47DA6635}"/>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A15D63E-D7D9-E34E-6F28-D4F872328FB9}"/>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B82A9B26-6CB2-45FF-7246-994DE57B0D89}"/>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42BF673-03E6-EAD0-B88D-C9F38479DBF0}"/>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A6854C4D-5BEC-6D4F-ECBE-F03E194F873B}"/>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2171685-4DEE-80AE-132E-1CC58526A8F0}"/>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C2794D7F-8B05-3220-8CE0-43A58AD6B735}"/>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C3063A3B-F5B3-6E4B-DDEC-9CBDA798577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56FC5BEE-F537-1E52-3E02-57FA4B7C0510}"/>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B1FBEC8-40BE-023E-91A9-D70930DD690C}"/>
                </a:ext>
              </a:extLst>
            </p:cNvPr>
            <p:cNvGrpSpPr/>
            <p:nvPr/>
          </p:nvGrpSpPr>
          <p:grpSpPr>
            <a:xfrm>
              <a:off x="0" y="2994757"/>
              <a:ext cx="1647336" cy="64803"/>
              <a:chOff x="0" y="2143857"/>
              <a:chExt cx="1647336" cy="64803"/>
            </a:xfrm>
            <a:grpFill/>
          </p:grpSpPr>
          <p:sp>
            <p:nvSpPr>
              <p:cNvPr id="23" name="Oval 22">
                <a:extLst>
                  <a:ext uri="{FF2B5EF4-FFF2-40B4-BE49-F238E27FC236}">
                    <a16:creationId xmlns:a16="http://schemas.microsoft.com/office/drawing/2014/main" id="{98BFA0E7-9905-1252-EBE8-76FCBF97AD10}"/>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C8F93444-FFA0-43BE-C787-E7B51B253934}"/>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965CA70D-90F3-B548-EA12-F97CED7F6CD2}"/>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6289A8A-8F59-C6F4-28CD-1DEC69061374}"/>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1A4F0D-74E8-C59E-C01E-4E2CF6A18FD6}"/>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93D4A81-BF06-97B2-195F-EFC0B53A652D}"/>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8FC3D0B-D9CC-DACA-37A3-D15CCD2DA283}"/>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3DC35A6C-6E3F-8360-7826-37FFD02B131E}"/>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D40D6CF0-2C1F-B050-8392-64AB3C98C70C}"/>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C5AB2085-3A36-4EBA-9969-F87F875F093B}"/>
              </a:ext>
            </a:extLst>
          </p:cNvPr>
          <p:cNvGrpSpPr/>
          <p:nvPr userDrawn="1"/>
        </p:nvGrpSpPr>
        <p:grpSpPr>
          <a:xfrm>
            <a:off x="11016820" y="5720920"/>
            <a:ext cx="870379" cy="870379"/>
            <a:chOff x="11016820" y="5720920"/>
            <a:chExt cx="870379" cy="870379"/>
          </a:xfrm>
          <a:solidFill>
            <a:schemeClr val="bg2"/>
          </a:solidFill>
        </p:grpSpPr>
        <p:sp>
          <p:nvSpPr>
            <p:cNvPr id="70" name="Oval 69">
              <a:extLst>
                <a:ext uri="{FF2B5EF4-FFF2-40B4-BE49-F238E27FC236}">
                  <a16:creationId xmlns:a16="http://schemas.microsoft.com/office/drawing/2014/main" id="{FA747C3B-5F40-2626-1407-17F8DB341DC1}"/>
                </a:ext>
              </a:extLst>
            </p:cNvPr>
            <p:cNvSpPr/>
            <p:nvPr/>
          </p:nvSpPr>
          <p:spPr bwMode="auto">
            <a:xfrm>
              <a:off x="11798515" y="5720920"/>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29466268-1797-C5F9-8A26-B22B1038B38A}"/>
                </a:ext>
              </a:extLst>
            </p:cNvPr>
            <p:cNvSpPr/>
            <p:nvPr/>
          </p:nvSpPr>
          <p:spPr bwMode="auto">
            <a:xfrm>
              <a:off x="11798515" y="5981484"/>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741AE4AE-4314-E957-3475-46F126D7762C}"/>
                </a:ext>
              </a:extLst>
            </p:cNvPr>
            <p:cNvSpPr/>
            <p:nvPr/>
          </p:nvSpPr>
          <p:spPr bwMode="auto">
            <a:xfrm>
              <a:off x="11798515" y="6242050"/>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4D6E5199-B1E6-C0F7-307E-A0BA56C15E5D}"/>
                </a:ext>
              </a:extLst>
            </p:cNvPr>
            <p:cNvSpPr/>
            <p:nvPr/>
          </p:nvSpPr>
          <p:spPr bwMode="auto">
            <a:xfrm>
              <a:off x="11798515" y="6502615"/>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2E240D5B-FD26-8CB5-C1A7-4CBB6A665454}"/>
                </a:ext>
              </a:extLst>
            </p:cNvPr>
            <p:cNvSpPr/>
            <p:nvPr/>
          </p:nvSpPr>
          <p:spPr bwMode="auto">
            <a:xfrm rot="5400000">
              <a:off x="11537950" y="6502615"/>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8352D7E5-1D42-095A-6264-E22CABA65399}"/>
                </a:ext>
              </a:extLst>
            </p:cNvPr>
            <p:cNvSpPr/>
            <p:nvPr/>
          </p:nvSpPr>
          <p:spPr bwMode="auto">
            <a:xfrm rot="5400000">
              <a:off x="11277384" y="6502615"/>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32CB5A7-1F46-6D3E-6BF0-9D04171733BE}"/>
                </a:ext>
              </a:extLst>
            </p:cNvPr>
            <p:cNvSpPr/>
            <p:nvPr/>
          </p:nvSpPr>
          <p:spPr bwMode="auto">
            <a:xfrm rot="5400000">
              <a:off x="11016820" y="6502615"/>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5AF8893D-3C15-3BD6-D997-D639559D308A}"/>
                </a:ext>
              </a:extLst>
            </p:cNvPr>
            <p:cNvSpPr/>
            <p:nvPr/>
          </p:nvSpPr>
          <p:spPr bwMode="auto">
            <a:xfrm rot="5400000">
              <a:off x="11537950" y="6242050"/>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CBC42C8E-D62B-7792-7EB7-D7352C9645DA}"/>
                </a:ext>
              </a:extLst>
            </p:cNvPr>
            <p:cNvSpPr/>
            <p:nvPr/>
          </p:nvSpPr>
          <p:spPr bwMode="auto">
            <a:xfrm rot="5400000">
              <a:off x="11277384" y="6242050"/>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D64392F9-3C23-70DD-56F4-DCAA1F8A4B10}"/>
                </a:ext>
              </a:extLst>
            </p:cNvPr>
            <p:cNvSpPr/>
            <p:nvPr/>
          </p:nvSpPr>
          <p:spPr bwMode="auto">
            <a:xfrm rot="5400000">
              <a:off x="11537950" y="5981484"/>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3D96143-81DE-9835-79A0-8BEDCED415FF}"/>
                </a:ext>
              </a:extLst>
            </p:cNvPr>
            <p:cNvSpPr/>
            <p:nvPr/>
          </p:nvSpPr>
          <p:spPr bwMode="auto">
            <a:xfrm rot="5400000">
              <a:off x="11016820" y="6242050"/>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2EF2A520-8CE1-BAAA-B1E9-9B9E9E95BA0A}"/>
                </a:ext>
              </a:extLst>
            </p:cNvPr>
            <p:cNvSpPr/>
            <p:nvPr/>
          </p:nvSpPr>
          <p:spPr bwMode="auto">
            <a:xfrm rot="5400000">
              <a:off x="11537950" y="5720920"/>
              <a:ext cx="88684" cy="8868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82" name="Free-form: Shape 81">
            <a:extLst>
              <a:ext uri="{FF2B5EF4-FFF2-40B4-BE49-F238E27FC236}">
                <a16:creationId xmlns:a16="http://schemas.microsoft.com/office/drawing/2014/main" id="{DAF02231-77D6-1273-D9CC-2C5922C98250}"/>
              </a:ext>
            </a:extLst>
          </p:cNvPr>
          <p:cNvSpPr/>
          <p:nvPr userDrawn="1"/>
        </p:nvSpPr>
        <p:spPr bwMode="auto">
          <a:xfrm>
            <a:off x="1714499" y="1498600"/>
            <a:ext cx="5829301" cy="1829924"/>
          </a:xfrm>
          <a:custGeom>
            <a:avLst/>
            <a:gdLst>
              <a:gd name="connsiteX0" fmla="*/ 228600 w 4343400"/>
              <a:gd name="connsiteY0" fmla="*/ 1473200 h 1473200"/>
              <a:gd name="connsiteX1" fmla="*/ 0 w 4343400"/>
              <a:gd name="connsiteY1" fmla="*/ 1473200 h 1473200"/>
              <a:gd name="connsiteX2" fmla="*/ 0 w 4343400"/>
              <a:gd name="connsiteY2" fmla="*/ 0 h 1473200"/>
              <a:gd name="connsiteX3" fmla="*/ 4343400 w 4343400"/>
              <a:gd name="connsiteY3" fmla="*/ 0 h 1473200"/>
              <a:gd name="connsiteX4" fmla="*/ 4343400 w 4343400"/>
              <a:gd name="connsiteY4" fmla="*/ 304800 h 1473200"/>
              <a:gd name="connsiteX0" fmla="*/ 0 w 4343400"/>
              <a:gd name="connsiteY0" fmla="*/ 1473200 h 1473200"/>
              <a:gd name="connsiteX1" fmla="*/ 0 w 4343400"/>
              <a:gd name="connsiteY1" fmla="*/ 0 h 1473200"/>
              <a:gd name="connsiteX2" fmla="*/ 4343400 w 4343400"/>
              <a:gd name="connsiteY2" fmla="*/ 0 h 1473200"/>
              <a:gd name="connsiteX3" fmla="*/ 4343400 w 4343400"/>
              <a:gd name="connsiteY3" fmla="*/ 304800 h 1473200"/>
            </a:gdLst>
            <a:ahLst/>
            <a:cxnLst>
              <a:cxn ang="0">
                <a:pos x="connsiteX0" y="connsiteY0"/>
              </a:cxn>
              <a:cxn ang="0">
                <a:pos x="connsiteX1" y="connsiteY1"/>
              </a:cxn>
              <a:cxn ang="0">
                <a:pos x="connsiteX2" y="connsiteY2"/>
              </a:cxn>
              <a:cxn ang="0">
                <a:pos x="connsiteX3" y="connsiteY3"/>
              </a:cxn>
            </a:cxnLst>
            <a:rect l="l" t="t" r="r" b="b"/>
            <a:pathLst>
              <a:path w="4343400" h="1473200">
                <a:moveTo>
                  <a:pt x="0" y="1473200"/>
                </a:moveTo>
                <a:lnTo>
                  <a:pt x="0" y="0"/>
                </a:lnTo>
                <a:lnTo>
                  <a:pt x="4343400" y="0"/>
                </a:lnTo>
                <a:lnTo>
                  <a:pt x="4343400" y="304800"/>
                </a:lnTo>
              </a:path>
            </a:pathLst>
          </a:custGeom>
          <a:noFill/>
          <a:ln w="63500" cap="rnd">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E78E5A3B-573D-8EAA-2EDC-2A58D18893A4}"/>
              </a:ext>
            </a:extLst>
          </p:cNvPr>
          <p:cNvGrpSpPr/>
          <p:nvPr userDrawn="1"/>
        </p:nvGrpSpPr>
        <p:grpSpPr>
          <a:xfrm>
            <a:off x="1714499" y="4027444"/>
            <a:ext cx="600855" cy="789824"/>
            <a:chOff x="1463597" y="3871131"/>
            <a:chExt cx="545832" cy="717497"/>
          </a:xfrm>
        </p:grpSpPr>
        <p:sp>
          <p:nvSpPr>
            <p:cNvPr id="87" name="Graphic 317">
              <a:extLst>
                <a:ext uri="{FF2B5EF4-FFF2-40B4-BE49-F238E27FC236}">
                  <a16:creationId xmlns:a16="http://schemas.microsoft.com/office/drawing/2014/main" id="{2FFDB439-2F7B-3B1E-CE78-BA7807C99AA0}"/>
                </a:ext>
              </a:extLst>
            </p:cNvPr>
            <p:cNvSpPr/>
            <p:nvPr/>
          </p:nvSpPr>
          <p:spPr>
            <a:xfrm rot="16200000">
              <a:off x="1428057" y="4007257"/>
              <a:ext cx="717497" cy="44524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solidFill>
              <a:schemeClr val="bg1">
                <a:lumMod val="95000"/>
              </a:schemeClr>
            </a:solidFill>
            <a:ln w="50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Graphic 318">
              <a:extLst>
                <a:ext uri="{FF2B5EF4-FFF2-40B4-BE49-F238E27FC236}">
                  <a16:creationId xmlns:a16="http://schemas.microsoft.com/office/drawing/2014/main" id="{5EAF443F-3B09-AFA5-713A-8E51763F6818}"/>
                </a:ext>
              </a:extLst>
            </p:cNvPr>
            <p:cNvSpPr/>
            <p:nvPr/>
          </p:nvSpPr>
          <p:spPr>
            <a:xfrm rot="16200000">
              <a:off x="1353386" y="4049637"/>
              <a:ext cx="580908" cy="360486"/>
            </a:xfrm>
            <a:custGeom>
              <a:avLst/>
              <a:gdLst>
                <a:gd name="connsiteX0" fmla="*/ 358722 w 717497"/>
                <a:gd name="connsiteY0" fmla="*/ 0 h 445246"/>
                <a:gd name="connsiteX1" fmla="*/ 673142 w 717497"/>
                <a:gd name="connsiteY1" fmla="*/ 0 h 445246"/>
                <a:gd name="connsiteX2" fmla="*/ 706385 w 717497"/>
                <a:gd name="connsiteY2" fmla="*/ 73533 h 445246"/>
                <a:gd name="connsiteX3" fmla="*/ 565034 w 717497"/>
                <a:gd name="connsiteY3" fmla="*/ 233934 h 445246"/>
                <a:gd name="connsiteX4" fmla="*/ 392060 w 717497"/>
                <a:gd name="connsiteY4" fmla="*/ 430244 h 445246"/>
                <a:gd name="connsiteX5" fmla="*/ 325575 w 717497"/>
                <a:gd name="connsiteY5" fmla="*/ 430244 h 445246"/>
                <a:gd name="connsiteX6" fmla="*/ 152506 w 717497"/>
                <a:gd name="connsiteY6" fmla="*/ 234029 h 445246"/>
                <a:gd name="connsiteX7" fmla="*/ 11155 w 717497"/>
                <a:gd name="connsiteY7" fmla="*/ 73533 h 445246"/>
                <a:gd name="connsiteX8" fmla="*/ 44397 w 717497"/>
                <a:gd name="connsiteY8" fmla="*/ 0 h 445246"/>
                <a:gd name="connsiteX9" fmla="*/ 358722 w 717497"/>
                <a:gd name="connsiteY9" fmla="*/ 0 h 44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97" h="445246">
                  <a:moveTo>
                    <a:pt x="358722" y="0"/>
                  </a:moveTo>
                  <a:lnTo>
                    <a:pt x="673142" y="0"/>
                  </a:lnTo>
                  <a:cubicBezTo>
                    <a:pt x="711242" y="0"/>
                    <a:pt x="731531" y="44958"/>
                    <a:pt x="706385" y="73533"/>
                  </a:cubicBezTo>
                  <a:lnTo>
                    <a:pt x="565034" y="233934"/>
                  </a:lnTo>
                  <a:lnTo>
                    <a:pt x="392060" y="430244"/>
                  </a:lnTo>
                  <a:cubicBezTo>
                    <a:pt x="374438" y="450247"/>
                    <a:pt x="343196" y="450247"/>
                    <a:pt x="325575" y="430244"/>
                  </a:cubicBezTo>
                  <a:lnTo>
                    <a:pt x="152506" y="234029"/>
                  </a:lnTo>
                  <a:lnTo>
                    <a:pt x="11155" y="73533"/>
                  </a:lnTo>
                  <a:cubicBezTo>
                    <a:pt x="-14086" y="44958"/>
                    <a:pt x="6297" y="0"/>
                    <a:pt x="44397" y="0"/>
                  </a:cubicBezTo>
                  <a:lnTo>
                    <a:pt x="358722" y="0"/>
                  </a:lnTo>
                  <a:close/>
                </a:path>
              </a:pathLst>
            </a:custGeom>
            <a:noFill/>
            <a:ln w="12700"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9" name="Free-form: Shape 88">
            <a:extLst>
              <a:ext uri="{FF2B5EF4-FFF2-40B4-BE49-F238E27FC236}">
                <a16:creationId xmlns:a16="http://schemas.microsoft.com/office/drawing/2014/main" id="{7C11D0DB-B1BF-9C66-06DE-20BB7B89491F}"/>
              </a:ext>
            </a:extLst>
          </p:cNvPr>
          <p:cNvSpPr/>
          <p:nvPr userDrawn="1"/>
        </p:nvSpPr>
        <p:spPr bwMode="auto">
          <a:xfrm>
            <a:off x="2" y="5647174"/>
            <a:ext cx="2699684" cy="1210826"/>
          </a:xfrm>
          <a:custGeom>
            <a:avLst/>
            <a:gdLst>
              <a:gd name="connsiteX0" fmla="*/ 447685 w 3175561"/>
              <a:gd name="connsiteY0" fmla="*/ 0 h 1424260"/>
              <a:gd name="connsiteX1" fmla="*/ 3016378 w 3175561"/>
              <a:gd name="connsiteY1" fmla="*/ 1211388 h 1424260"/>
              <a:gd name="connsiteX2" fmla="*/ 3175561 w 3175561"/>
              <a:gd name="connsiteY2" fmla="*/ 1424260 h 1424260"/>
              <a:gd name="connsiteX3" fmla="*/ 2245404 w 3175561"/>
              <a:gd name="connsiteY3" fmla="*/ 1424260 h 1424260"/>
              <a:gd name="connsiteX4" fmla="*/ 2115220 w 3175561"/>
              <a:gd name="connsiteY4" fmla="*/ 1305941 h 1424260"/>
              <a:gd name="connsiteX5" fmla="*/ 447685 w 3175561"/>
              <a:gd name="connsiteY5" fmla="*/ 707311 h 1424260"/>
              <a:gd name="connsiteX6" fmla="*/ 179649 w 3175561"/>
              <a:gd name="connsiteY6" fmla="*/ 720846 h 1424260"/>
              <a:gd name="connsiteX7" fmla="*/ 0 w 3175561"/>
              <a:gd name="connsiteY7" fmla="*/ 748264 h 1424260"/>
              <a:gd name="connsiteX8" fmla="*/ 0 w 3175561"/>
              <a:gd name="connsiteY8" fmla="*/ 30825 h 1424260"/>
              <a:gd name="connsiteX9" fmla="*/ 107331 w 3175561"/>
              <a:gd name="connsiteY9" fmla="*/ 17187 h 1424260"/>
              <a:gd name="connsiteX10" fmla="*/ 447685 w 3175561"/>
              <a:gd name="connsiteY10" fmla="*/ 0 h 142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561" h="1424260">
                <a:moveTo>
                  <a:pt x="447685" y="0"/>
                </a:moveTo>
                <a:cubicBezTo>
                  <a:pt x="1481822" y="0"/>
                  <a:pt x="2405820" y="471563"/>
                  <a:pt x="3016378" y="1211388"/>
                </a:cubicBezTo>
                <a:lnTo>
                  <a:pt x="3175561" y="1424260"/>
                </a:lnTo>
                <a:lnTo>
                  <a:pt x="2245404" y="1424260"/>
                </a:lnTo>
                <a:lnTo>
                  <a:pt x="2115220" y="1305941"/>
                </a:lnTo>
                <a:cubicBezTo>
                  <a:pt x="1662065" y="931964"/>
                  <a:pt x="1081110" y="707311"/>
                  <a:pt x="447685" y="707311"/>
                </a:cubicBezTo>
                <a:cubicBezTo>
                  <a:pt x="357196" y="707311"/>
                  <a:pt x="267777" y="711896"/>
                  <a:pt x="179649" y="720846"/>
                </a:cubicBezTo>
                <a:lnTo>
                  <a:pt x="0" y="748264"/>
                </a:lnTo>
                <a:lnTo>
                  <a:pt x="0" y="30825"/>
                </a:lnTo>
                <a:lnTo>
                  <a:pt x="107331" y="17187"/>
                </a:lnTo>
                <a:cubicBezTo>
                  <a:pt x="219237" y="5822"/>
                  <a:pt x="332781" y="0"/>
                  <a:pt x="44768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270758" y="2124717"/>
            <a:ext cx="5829297" cy="1354217"/>
          </a:xfrm>
          <a:noFill/>
        </p:spPr>
        <p:txBody>
          <a:bodyPr wrap="square" lIns="0" tIns="0" rIns="0" bIns="0" anchor="b" anchorCtr="0">
            <a:spAutoFit/>
          </a:bodyPr>
          <a:lstStyle>
            <a:lvl1pPr marL="0" algn="l" defTabSz="932742" rtl="0" eaLnBrk="1" latinLnBrk="0" hangingPunct="1">
              <a:lnSpc>
                <a:spcPct val="100000"/>
              </a:lnSpc>
              <a:spcBef>
                <a:spcPct val="0"/>
              </a:spcBef>
              <a:buNone/>
              <a:defRPr lang="en-US" sz="4400" b="0" kern="1200" cap="none" spc="-50" baseline="0" dirty="0">
                <a:ln w="3175">
                  <a:noFill/>
                </a:ln>
                <a:solidFill>
                  <a:srgbClr val="3A536B"/>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
        <p:nvSpPr>
          <p:cNvPr id="5" name="Text Placeholder 4"/>
          <p:cNvSpPr>
            <a:spLocks noGrp="1"/>
          </p:cNvSpPr>
          <p:nvPr>
            <p:ph type="body" sz="quarter" idx="12" hasCustomPrompt="1"/>
          </p:nvPr>
        </p:nvSpPr>
        <p:spPr>
          <a:xfrm>
            <a:off x="2619375" y="4268468"/>
            <a:ext cx="5486400" cy="307777"/>
          </a:xfrm>
          <a:noFill/>
        </p:spPr>
        <p:txBody>
          <a:bodyPr wrap="square" lIns="0" tIns="0" rIns="0" bIns="0">
            <a:spAutoFit/>
          </a:bodyPr>
          <a:lstStyle>
            <a:lvl1pPr marL="0" indent="0">
              <a:spcBef>
                <a:spcPts val="0"/>
              </a:spcBef>
              <a:buNone/>
              <a:defRPr kumimoji="0" lang="en-US" sz="2000" b="0" i="0" u="none" strike="noStrike" kern="1200" cap="none" spc="0" normalizeH="0" baseline="0" dirty="0">
                <a:ln>
                  <a:noFill/>
                </a:ln>
                <a:solidFill>
                  <a:srgbClr val="FFFFFF">
                    <a:lumMod val="50000"/>
                  </a:srgbClr>
                </a:solidFill>
                <a:effectLst/>
                <a:uLnTx/>
                <a:uFillTx/>
                <a:latin typeface="Segoe UI Semibold"/>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2619375" y="4859638"/>
            <a:ext cx="5486400" cy="837152"/>
          </a:xfrm>
        </p:spPr>
        <p:txBody>
          <a:bodyPr/>
          <a:lstStyle>
            <a:lvl1pPr marL="0" indent="0">
              <a:spcBef>
                <a:spcPts val="24"/>
              </a:spcBef>
              <a:buNone/>
              <a:defRPr kumimoji="0" lang="en-US" sz="1600" b="0" i="0" u="none" strike="noStrike" kern="1200" cap="none" spc="0" normalizeH="0" baseline="0" dirty="0">
                <a:ln>
                  <a:noFill/>
                </a:ln>
                <a:solidFill>
                  <a:srgbClr val="000000"/>
                </a:solidFill>
                <a:effectLst/>
                <a:uLnTx/>
                <a:uFillTx/>
                <a:latin typeface="Segoe UI"/>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Other information</a:t>
            </a:r>
          </a:p>
        </p:txBody>
      </p:sp>
    </p:spTree>
    <p:extLst>
      <p:ext uri="{BB962C8B-B14F-4D97-AF65-F5344CB8AC3E}">
        <p14:creationId xmlns:p14="http://schemas.microsoft.com/office/powerpoint/2010/main" val="1480069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72">
          <p15:clr>
            <a:srgbClr val="5ACBF0"/>
          </p15:clr>
        </p15:guide>
        <p15:guide id="3" pos="3842">
          <p15:clr>
            <a:srgbClr val="5ACBF0"/>
          </p15:clr>
        </p15:guide>
        <p15:guide id="4" orient="horz" pos="216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4A001AE1-8659-BE68-D13E-1749B7C6F739}"/>
              </a:ext>
            </a:extLst>
          </p:cNvPr>
          <p:cNvGrpSpPr/>
          <p:nvPr userDrawn="1"/>
        </p:nvGrpSpPr>
        <p:grpSpPr>
          <a:xfrm>
            <a:off x="4655194" y="1191140"/>
            <a:ext cx="875440" cy="693220"/>
            <a:chOff x="4655194" y="1191140"/>
            <a:chExt cx="875440" cy="693220"/>
          </a:xfrm>
        </p:grpSpPr>
        <p:sp>
          <p:nvSpPr>
            <p:cNvPr id="9" name="Oval 8">
              <a:extLst>
                <a:ext uri="{FF2B5EF4-FFF2-40B4-BE49-F238E27FC236}">
                  <a16:creationId xmlns:a16="http://schemas.microsoft.com/office/drawing/2014/main" id="{B25ED429-AE6A-B1A3-13DF-0807FF238451}"/>
                </a:ext>
              </a:extLst>
            </p:cNvPr>
            <p:cNvSpPr/>
            <p:nvPr/>
          </p:nvSpPr>
          <p:spPr bwMode="auto">
            <a:xfrm>
              <a:off x="4746304" y="1191140"/>
              <a:ext cx="693220" cy="69322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20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0" name="TextBox 9">
              <a:extLst>
                <a:ext uri="{FF2B5EF4-FFF2-40B4-BE49-F238E27FC236}">
                  <a16:creationId xmlns:a16="http://schemas.microsoft.com/office/drawing/2014/main" id="{4A86AB34-4D15-7377-D025-110BE01996D4}"/>
                </a:ext>
              </a:extLst>
            </p:cNvPr>
            <p:cNvSpPr txBox="1"/>
            <p:nvPr/>
          </p:nvSpPr>
          <p:spPr>
            <a:xfrm>
              <a:off x="4655194" y="1353084"/>
              <a:ext cx="87544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1</a:t>
              </a:r>
            </a:p>
          </p:txBody>
        </p:sp>
      </p:grpSp>
      <p:grpSp>
        <p:nvGrpSpPr>
          <p:cNvPr id="12" name="Group 11">
            <a:extLst>
              <a:ext uri="{FF2B5EF4-FFF2-40B4-BE49-F238E27FC236}">
                <a16:creationId xmlns:a16="http://schemas.microsoft.com/office/drawing/2014/main" id="{BEE9EF4B-403F-24CD-7476-4B9CEC30288B}"/>
              </a:ext>
            </a:extLst>
          </p:cNvPr>
          <p:cNvGrpSpPr/>
          <p:nvPr/>
        </p:nvGrpSpPr>
        <p:grpSpPr>
          <a:xfrm>
            <a:off x="4655194" y="2491228"/>
            <a:ext cx="875439" cy="693220"/>
            <a:chOff x="4542890" y="2973275"/>
            <a:chExt cx="1122682" cy="889000"/>
          </a:xfrm>
        </p:grpSpPr>
        <p:sp>
          <p:nvSpPr>
            <p:cNvPr id="14" name="Oval 13">
              <a:extLst>
                <a:ext uri="{FF2B5EF4-FFF2-40B4-BE49-F238E27FC236}">
                  <a16:creationId xmlns:a16="http://schemas.microsoft.com/office/drawing/2014/main" id="{826C87C4-A125-7CE6-E5A4-CA32960ED41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5" name="TextBox 14">
              <a:extLst>
                <a:ext uri="{FF2B5EF4-FFF2-40B4-BE49-F238E27FC236}">
                  <a16:creationId xmlns:a16="http://schemas.microsoft.com/office/drawing/2014/main" id="{ABE076AC-7D9B-0DF2-53A3-6CE0BDEA6EF6}"/>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2</a:t>
              </a:r>
            </a:p>
          </p:txBody>
        </p:sp>
      </p:gr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bg2">
              <a:lumMod val="40000"/>
              <a:lumOff val="6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bg2">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2">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2">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2">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bg2">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bg2">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2">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bg2">
                    <a:lumMod val="40000"/>
                    <a:lumOff val="6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chemeClr val="tx2"/>
                </a:solidFill>
                <a:latin typeface="+mj-lt"/>
              </a:rPr>
              <a:t>Agenda</a:t>
            </a:r>
          </a:p>
        </p:txBody>
      </p:sp>
      <p:grpSp>
        <p:nvGrpSpPr>
          <p:cNvPr id="87" name="Group 86">
            <a:extLst>
              <a:ext uri="{FF2B5EF4-FFF2-40B4-BE49-F238E27FC236}">
                <a16:creationId xmlns:a16="http://schemas.microsoft.com/office/drawing/2014/main" id="{BFBAC349-3C49-7052-471D-B4179B5F42E5}"/>
              </a:ext>
            </a:extLst>
          </p:cNvPr>
          <p:cNvGrpSpPr/>
          <p:nvPr userDrawn="1"/>
        </p:nvGrpSpPr>
        <p:grpSpPr>
          <a:xfrm>
            <a:off x="4655192" y="3791316"/>
            <a:ext cx="875439" cy="693220"/>
            <a:chOff x="4542888" y="2973275"/>
            <a:chExt cx="1122682" cy="889000"/>
          </a:xfrm>
        </p:grpSpPr>
        <p:sp>
          <p:nvSpPr>
            <p:cNvPr id="89" name="Oval 88">
              <a:extLst>
                <a:ext uri="{FF2B5EF4-FFF2-40B4-BE49-F238E27FC236}">
                  <a16:creationId xmlns:a16="http://schemas.microsoft.com/office/drawing/2014/main" id="{4FA8D70B-7D7D-CBAB-81D5-170BDE9AB1B5}"/>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90" name="TextBox 89">
              <a:extLst>
                <a:ext uri="{FF2B5EF4-FFF2-40B4-BE49-F238E27FC236}">
                  <a16:creationId xmlns:a16="http://schemas.microsoft.com/office/drawing/2014/main" id="{E8898D7D-F01D-5294-4D87-F3517D23372B}"/>
                </a:ext>
              </a:extLst>
            </p:cNvPr>
            <p:cNvSpPr txBox="1"/>
            <p:nvPr userDrawn="1"/>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3</a:t>
              </a:r>
            </a:p>
          </p:txBody>
        </p:sp>
      </p:grpSp>
      <p:grpSp>
        <p:nvGrpSpPr>
          <p:cNvPr id="97" name="Group 96">
            <a:extLst>
              <a:ext uri="{FF2B5EF4-FFF2-40B4-BE49-F238E27FC236}">
                <a16:creationId xmlns:a16="http://schemas.microsoft.com/office/drawing/2014/main" id="{DBA52503-C894-6277-EE31-EF57BB111575}"/>
              </a:ext>
            </a:extLst>
          </p:cNvPr>
          <p:cNvGrpSpPr/>
          <p:nvPr/>
        </p:nvGrpSpPr>
        <p:grpSpPr>
          <a:xfrm>
            <a:off x="4655194" y="5091403"/>
            <a:ext cx="875439" cy="693220"/>
            <a:chOff x="4542890" y="2973275"/>
            <a:chExt cx="1122682" cy="889000"/>
          </a:xfrm>
        </p:grpSpPr>
        <p:sp>
          <p:nvSpPr>
            <p:cNvPr id="99" name="Oval 98">
              <a:extLst>
                <a:ext uri="{FF2B5EF4-FFF2-40B4-BE49-F238E27FC236}">
                  <a16:creationId xmlns:a16="http://schemas.microsoft.com/office/drawing/2014/main" id="{CDA04284-D495-8C1F-0D82-E5D538A6315A}"/>
                </a:ext>
              </a:extLst>
            </p:cNvPr>
            <p:cNvSpPr/>
            <p:nvPr/>
          </p:nvSpPr>
          <p:spPr bwMode="auto">
            <a:xfrm>
              <a:off x="4659731" y="2973275"/>
              <a:ext cx="889000" cy="889000"/>
            </a:xfrm>
            <a:prstGeom prst="ellipse">
              <a:avLst/>
            </a:prstGeom>
            <a:solidFill>
              <a:schemeClr val="bg1"/>
            </a:solidFill>
            <a:ln w="15875">
              <a:noFill/>
              <a:headEnd type="none" w="med" len="med"/>
              <a:tailEnd type="none" w="med" len="med"/>
            </a:ln>
            <a:effectLst>
              <a:outerShdw blurRad="63500" sx="105000" sy="105000" algn="ctr" rotWithShape="0">
                <a:prstClr val="black">
                  <a:alpha val="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1600" b="0" i="0" u="none" strike="noStrike" kern="1200" cap="none" spc="0" normalizeH="0" baseline="0" noProof="0" err="1">
                <a:ln>
                  <a:noFill/>
                </a:ln>
                <a:solidFill>
                  <a:schemeClr val="tx2"/>
                </a:solidFill>
                <a:effectLst/>
                <a:uLnTx/>
                <a:uFillTx/>
                <a:latin typeface="Calibri" panose="020F0502020204030204"/>
                <a:ea typeface="+mn-ea"/>
                <a:cs typeface="Segoe UI" pitchFamily="34" charset="0"/>
              </a:endParaRPr>
            </a:p>
          </p:txBody>
        </p:sp>
        <p:sp>
          <p:nvSpPr>
            <p:cNvPr id="100" name="TextBox 99">
              <a:extLst>
                <a:ext uri="{FF2B5EF4-FFF2-40B4-BE49-F238E27FC236}">
                  <a16:creationId xmlns:a16="http://schemas.microsoft.com/office/drawing/2014/main" id="{645464B5-B1A2-C821-0236-3B1982AB0DB1}"/>
                </a:ext>
              </a:extLst>
            </p:cNvPr>
            <p:cNvSpPr txBox="1"/>
            <p:nvPr/>
          </p:nvSpPr>
          <p:spPr>
            <a:xfrm>
              <a:off x="4542890" y="3180955"/>
              <a:ext cx="1122682" cy="473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tx2"/>
                  </a:solidFill>
                  <a:effectLst/>
                  <a:uLnTx/>
                  <a:uFillTx/>
                  <a:latin typeface="Segoe UI"/>
                  <a:ea typeface="+mn-ea"/>
                  <a:cs typeface="+mn-cs"/>
                </a:rPr>
                <a:t>4</a:t>
              </a:r>
            </a:p>
          </p:txBody>
        </p:sp>
      </p:grpSp>
      <p:sp>
        <p:nvSpPr>
          <p:cNvPr id="101" name="Text Placeholder 2">
            <a:extLst>
              <a:ext uri="{FF2B5EF4-FFF2-40B4-BE49-F238E27FC236}">
                <a16:creationId xmlns:a16="http://schemas.microsoft.com/office/drawing/2014/main" id="{E8EC1362-0CB6-2ADF-991C-4E36B45C0928}"/>
              </a:ext>
            </a:extLst>
          </p:cNvPr>
          <p:cNvSpPr>
            <a:spLocks noGrp="1"/>
          </p:cNvSpPr>
          <p:nvPr>
            <p:ph type="body" sz="quarter" idx="10"/>
          </p:nvPr>
        </p:nvSpPr>
        <p:spPr>
          <a:xfrm>
            <a:off x="5656602" y="1399251"/>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102" name="Text Placeholder 2">
            <a:extLst>
              <a:ext uri="{FF2B5EF4-FFF2-40B4-BE49-F238E27FC236}">
                <a16:creationId xmlns:a16="http://schemas.microsoft.com/office/drawing/2014/main" id="{DB300B4E-15B0-3EC4-2E0C-DB32B767F4E3}"/>
              </a:ext>
            </a:extLst>
          </p:cNvPr>
          <p:cNvSpPr>
            <a:spLocks noGrp="1"/>
          </p:cNvSpPr>
          <p:nvPr>
            <p:ph type="body" sz="quarter" idx="11"/>
          </p:nvPr>
        </p:nvSpPr>
        <p:spPr>
          <a:xfrm>
            <a:off x="5656602" y="2689079"/>
            <a:ext cx="6070600" cy="307777"/>
          </a:xfrm>
        </p:spPr>
        <p:txBody>
          <a:bodyPr/>
          <a:lstStyle>
            <a:lvl1pPr marL="0" indent="0">
              <a:buNone/>
              <a:defRPr sz="2000">
                <a:solidFill>
                  <a:schemeClr val="tx2"/>
                </a:solidFill>
                <a:latin typeface="+mj-lt"/>
              </a:defRPr>
            </a:lvl1pPr>
          </a:lstStyle>
          <a:p>
            <a:pPr lvl="0"/>
            <a:r>
              <a:rPr lang="en-US"/>
              <a:t>Click to edit Master text styles</a:t>
            </a:r>
          </a:p>
        </p:txBody>
      </p:sp>
      <p:sp>
        <p:nvSpPr>
          <p:cNvPr id="103" name="Text Placeholder 2">
            <a:extLst>
              <a:ext uri="{FF2B5EF4-FFF2-40B4-BE49-F238E27FC236}">
                <a16:creationId xmlns:a16="http://schemas.microsoft.com/office/drawing/2014/main" id="{AD6785CC-4508-96E8-DD76-F2BEDCFF29E3}"/>
              </a:ext>
            </a:extLst>
          </p:cNvPr>
          <p:cNvSpPr>
            <a:spLocks noGrp="1"/>
          </p:cNvSpPr>
          <p:nvPr>
            <p:ph type="body" sz="quarter" idx="12"/>
          </p:nvPr>
        </p:nvSpPr>
        <p:spPr>
          <a:xfrm>
            <a:off x="5656602" y="4009685"/>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104" name="Text Placeholder 2">
            <a:extLst>
              <a:ext uri="{FF2B5EF4-FFF2-40B4-BE49-F238E27FC236}">
                <a16:creationId xmlns:a16="http://schemas.microsoft.com/office/drawing/2014/main" id="{D3E17AB8-A8BA-A7E1-7A4F-836B74379087}"/>
              </a:ext>
            </a:extLst>
          </p:cNvPr>
          <p:cNvSpPr>
            <a:spLocks noGrp="1"/>
          </p:cNvSpPr>
          <p:nvPr>
            <p:ph type="body" sz="quarter" idx="13"/>
          </p:nvPr>
        </p:nvSpPr>
        <p:spPr>
          <a:xfrm>
            <a:off x="5656602" y="5299514"/>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07646925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Agenda Custom">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29C65921-FD7F-B796-44F6-E9E410683CD9}"/>
              </a:ext>
            </a:extLst>
          </p:cNvPr>
          <p:cNvSpPr/>
          <p:nvPr userDrawn="1"/>
        </p:nvSpPr>
        <p:spPr bwMode="auto">
          <a:xfrm>
            <a:off x="0" y="2328"/>
            <a:ext cx="4025900" cy="6857997"/>
          </a:xfrm>
          <a:prstGeom prst="roundRect">
            <a:avLst>
              <a:gd name="adj"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Arrow: U-Turn 4">
            <a:extLst>
              <a:ext uri="{FF2B5EF4-FFF2-40B4-BE49-F238E27FC236}">
                <a16:creationId xmlns:a16="http://schemas.microsoft.com/office/drawing/2014/main" id="{9813402F-4AE0-5DF2-8034-09DE25CC529B}"/>
              </a:ext>
            </a:extLst>
          </p:cNvPr>
          <p:cNvSpPr/>
          <p:nvPr userDrawn="1"/>
        </p:nvSpPr>
        <p:spPr bwMode="auto">
          <a:xfrm rot="5400000">
            <a:off x="1718628" y="2893060"/>
            <a:ext cx="5686424" cy="1071880"/>
          </a:xfrm>
          <a:prstGeom prst="uturnArrow">
            <a:avLst>
              <a:gd name="adj1" fmla="val 25000"/>
              <a:gd name="adj2" fmla="val 0"/>
              <a:gd name="adj3" fmla="val 25000"/>
              <a:gd name="adj4" fmla="val 10792"/>
              <a:gd name="adj5" fmla="val 10000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02665FB2-6199-D848-B7A0-CB7398D06B75}"/>
              </a:ext>
            </a:extLst>
          </p:cNvPr>
          <p:cNvGrpSpPr/>
          <p:nvPr userDrawn="1"/>
        </p:nvGrpSpPr>
        <p:grpSpPr>
          <a:xfrm>
            <a:off x="82210" y="487355"/>
            <a:ext cx="1999622" cy="1111528"/>
            <a:chOff x="0" y="2143857"/>
            <a:chExt cx="1647336" cy="915703"/>
          </a:xfrm>
          <a:solidFill>
            <a:schemeClr val="bg2">
              <a:lumMod val="40000"/>
              <a:lumOff val="60000"/>
            </a:schemeClr>
          </a:solidFill>
        </p:grpSpPr>
        <p:grpSp>
          <p:nvGrpSpPr>
            <p:cNvPr id="19" name="Group 18">
              <a:extLst>
                <a:ext uri="{FF2B5EF4-FFF2-40B4-BE49-F238E27FC236}">
                  <a16:creationId xmlns:a16="http://schemas.microsoft.com/office/drawing/2014/main" id="{90C3E72C-BC08-E613-5F40-3CCF61D54557}"/>
                </a:ext>
              </a:extLst>
            </p:cNvPr>
            <p:cNvGrpSpPr/>
            <p:nvPr/>
          </p:nvGrpSpPr>
          <p:grpSpPr>
            <a:xfrm>
              <a:off x="0" y="2356582"/>
              <a:ext cx="1647336" cy="64803"/>
              <a:chOff x="0" y="2352485"/>
              <a:chExt cx="1647336" cy="64803"/>
            </a:xfrm>
            <a:grpFill/>
          </p:grpSpPr>
          <p:sp>
            <p:nvSpPr>
              <p:cNvPr id="60" name="Oval 59">
                <a:extLst>
                  <a:ext uri="{FF2B5EF4-FFF2-40B4-BE49-F238E27FC236}">
                    <a16:creationId xmlns:a16="http://schemas.microsoft.com/office/drawing/2014/main" id="{A90DAD7A-43C3-0B7B-06F0-B83E4BC2982F}"/>
                  </a:ext>
                </a:extLst>
              </p:cNvPr>
              <p:cNvSpPr/>
              <p:nvPr/>
            </p:nvSpPr>
            <p:spPr bwMode="auto">
              <a:xfrm rot="5400000">
                <a:off x="15825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C826D7C4-3E96-7653-78A8-963550094E62}"/>
                  </a:ext>
                </a:extLst>
              </p:cNvPr>
              <p:cNvSpPr/>
              <p:nvPr/>
            </p:nvSpPr>
            <p:spPr bwMode="auto">
              <a:xfrm rot="5400000">
                <a:off x="13847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8B7CD4CB-B826-FC84-67D7-CBF3F39C5EAF}"/>
                  </a:ext>
                </a:extLst>
              </p:cNvPr>
              <p:cNvSpPr/>
              <p:nvPr/>
            </p:nvSpPr>
            <p:spPr bwMode="auto">
              <a:xfrm rot="5400000">
                <a:off x="118690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F35B59A6-6763-B8B1-90AE-7C1C223A150B}"/>
                  </a:ext>
                </a:extLst>
              </p:cNvPr>
              <p:cNvSpPr/>
              <p:nvPr/>
            </p:nvSpPr>
            <p:spPr bwMode="auto">
              <a:xfrm>
                <a:off x="59345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9D6474B4-6827-9BF9-FAF2-E1795B70A592}"/>
                  </a:ext>
                </a:extLst>
              </p:cNvPr>
              <p:cNvSpPr/>
              <p:nvPr/>
            </p:nvSpPr>
            <p:spPr bwMode="auto">
              <a:xfrm rot="5400000">
                <a:off x="39563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20741D26-8134-B07C-5729-7489D8773DB2}"/>
                  </a:ext>
                </a:extLst>
              </p:cNvPr>
              <p:cNvSpPr/>
              <p:nvPr/>
            </p:nvSpPr>
            <p:spPr bwMode="auto">
              <a:xfrm rot="5400000">
                <a:off x="19781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D63A4E95-2F66-BFE2-4B98-F21E0E241CA6}"/>
                  </a:ext>
                </a:extLst>
              </p:cNvPr>
              <p:cNvSpPr/>
              <p:nvPr/>
            </p:nvSpPr>
            <p:spPr bwMode="auto">
              <a:xfrm rot="5400000">
                <a:off x="0"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A31585C-BEE0-6E48-7C99-D4F3E7FB0B0F}"/>
                  </a:ext>
                </a:extLst>
              </p:cNvPr>
              <p:cNvSpPr/>
              <p:nvPr/>
            </p:nvSpPr>
            <p:spPr bwMode="auto">
              <a:xfrm>
                <a:off x="791267"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3E580A55-B12F-81CE-4C39-011911B47C96}"/>
                  </a:ext>
                </a:extLst>
              </p:cNvPr>
              <p:cNvSpPr/>
              <p:nvPr/>
            </p:nvSpPr>
            <p:spPr bwMode="auto">
              <a:xfrm>
                <a:off x="989083" y="2352485"/>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0C0FE0B3-F9C8-2DCE-1AD7-2D310541667A}"/>
                </a:ext>
              </a:extLst>
            </p:cNvPr>
            <p:cNvGrpSpPr/>
            <p:nvPr/>
          </p:nvGrpSpPr>
          <p:grpSpPr>
            <a:xfrm>
              <a:off x="0" y="2569307"/>
              <a:ext cx="1647336" cy="64804"/>
              <a:chOff x="0" y="2561113"/>
              <a:chExt cx="1647336" cy="64804"/>
            </a:xfrm>
            <a:grpFill/>
          </p:grpSpPr>
          <p:sp>
            <p:nvSpPr>
              <p:cNvPr id="51" name="Oval 50">
                <a:extLst>
                  <a:ext uri="{FF2B5EF4-FFF2-40B4-BE49-F238E27FC236}">
                    <a16:creationId xmlns:a16="http://schemas.microsoft.com/office/drawing/2014/main" id="{5F539D38-BAC6-E106-8351-378D03B95ECB}"/>
                  </a:ext>
                </a:extLst>
              </p:cNvPr>
              <p:cNvSpPr/>
              <p:nvPr/>
            </p:nvSpPr>
            <p:spPr bwMode="auto">
              <a:xfrm rot="5400000">
                <a:off x="15825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7CD3226-D29E-43DE-5EDC-EE4C81470C07}"/>
                  </a:ext>
                </a:extLst>
              </p:cNvPr>
              <p:cNvSpPr/>
              <p:nvPr/>
            </p:nvSpPr>
            <p:spPr bwMode="auto">
              <a:xfrm rot="5400000">
                <a:off x="13847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F45FBE0-18FE-403A-20BA-C7B34EB2C81C}"/>
                  </a:ext>
                </a:extLst>
              </p:cNvPr>
              <p:cNvSpPr/>
              <p:nvPr/>
            </p:nvSpPr>
            <p:spPr bwMode="auto">
              <a:xfrm rot="5400000">
                <a:off x="118690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761FDE27-595C-FFC5-51E2-A1ED4B275F98}"/>
                  </a:ext>
                </a:extLst>
              </p:cNvPr>
              <p:cNvSpPr/>
              <p:nvPr/>
            </p:nvSpPr>
            <p:spPr bwMode="auto">
              <a:xfrm>
                <a:off x="59345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E209AC06-E726-AB85-14F5-6B00239D701A}"/>
                  </a:ext>
                </a:extLst>
              </p:cNvPr>
              <p:cNvSpPr/>
              <p:nvPr/>
            </p:nvSpPr>
            <p:spPr bwMode="auto">
              <a:xfrm rot="5400000">
                <a:off x="395633"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16558105-8E50-3399-15D7-31043E9AD44E}"/>
                  </a:ext>
                </a:extLst>
              </p:cNvPr>
              <p:cNvSpPr/>
              <p:nvPr/>
            </p:nvSpPr>
            <p:spPr bwMode="auto">
              <a:xfrm rot="5400000">
                <a:off x="19781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AA12D00-9BAD-5E66-25AF-C256F8A82720}"/>
                  </a:ext>
                </a:extLst>
              </p:cNvPr>
              <p:cNvSpPr/>
              <p:nvPr/>
            </p:nvSpPr>
            <p:spPr bwMode="auto">
              <a:xfrm rot="5400000">
                <a:off x="0"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1E39797-6B0D-14A9-60AB-0801F02D8959}"/>
                  </a:ext>
                </a:extLst>
              </p:cNvPr>
              <p:cNvSpPr/>
              <p:nvPr/>
            </p:nvSpPr>
            <p:spPr bwMode="auto">
              <a:xfrm>
                <a:off x="791267" y="2561113"/>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13D16B7-D349-AA7B-93A4-4F2737B66013}"/>
                  </a:ext>
                </a:extLst>
              </p:cNvPr>
              <p:cNvSpPr/>
              <p:nvPr/>
            </p:nvSpPr>
            <p:spPr bwMode="auto">
              <a:xfrm>
                <a:off x="989083" y="2561114"/>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151B41DB-F6F9-349B-2F3E-A7D471C23451}"/>
                </a:ext>
              </a:extLst>
            </p:cNvPr>
            <p:cNvGrpSpPr/>
            <p:nvPr/>
          </p:nvGrpSpPr>
          <p:grpSpPr>
            <a:xfrm>
              <a:off x="0" y="2143857"/>
              <a:ext cx="1647336" cy="64803"/>
              <a:chOff x="0" y="2143857"/>
              <a:chExt cx="1647336" cy="64803"/>
            </a:xfrm>
            <a:grpFill/>
          </p:grpSpPr>
          <p:sp>
            <p:nvSpPr>
              <p:cNvPr id="42" name="Oval 41">
                <a:extLst>
                  <a:ext uri="{FF2B5EF4-FFF2-40B4-BE49-F238E27FC236}">
                    <a16:creationId xmlns:a16="http://schemas.microsoft.com/office/drawing/2014/main" id="{E2EC5D2A-A54B-10AB-1E7F-6D4E2CB71DAD}"/>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F7142276-15F4-0710-1242-1121E7122CD8}"/>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40D36DC4-3C12-7C0F-D16A-D8703E6BDBB1}"/>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CC0488-9DB0-DA62-1B25-0127C8FE9827}"/>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66B78467-3055-9EA7-0D52-D646B9BD7953}"/>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513A2EF-5D16-E2C7-FD52-025F7D40CF11}"/>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684A6D68-14DB-96DF-A697-DA0D78888DA2}"/>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B7386B6C-CA37-6018-FD08-8A8E49F5C3C1}"/>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6AC8E9AC-E8EE-0CD7-248D-ACA0A76B920F}"/>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86033F52-E3A6-1680-DC0D-D620CD1DA149}"/>
                </a:ext>
              </a:extLst>
            </p:cNvPr>
            <p:cNvGrpSpPr/>
            <p:nvPr/>
          </p:nvGrpSpPr>
          <p:grpSpPr>
            <a:xfrm>
              <a:off x="0" y="2782032"/>
              <a:ext cx="1647336" cy="64803"/>
              <a:chOff x="0" y="2769740"/>
              <a:chExt cx="1647336" cy="64803"/>
            </a:xfrm>
            <a:grpFill/>
          </p:grpSpPr>
          <p:sp>
            <p:nvSpPr>
              <p:cNvPr id="33" name="Oval 32">
                <a:extLst>
                  <a:ext uri="{FF2B5EF4-FFF2-40B4-BE49-F238E27FC236}">
                    <a16:creationId xmlns:a16="http://schemas.microsoft.com/office/drawing/2014/main" id="{751A4015-A7FF-D134-974D-1EB42EF2821A}"/>
                  </a:ext>
                </a:extLst>
              </p:cNvPr>
              <p:cNvSpPr/>
              <p:nvPr/>
            </p:nvSpPr>
            <p:spPr bwMode="auto">
              <a:xfrm rot="5400000">
                <a:off x="15825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4FA86999-E837-FCDB-A569-94D7AC160918}"/>
                  </a:ext>
                </a:extLst>
              </p:cNvPr>
              <p:cNvSpPr/>
              <p:nvPr/>
            </p:nvSpPr>
            <p:spPr bwMode="auto">
              <a:xfrm rot="5400000">
                <a:off x="13847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2DC6340-3A97-7491-6E84-4D8D919FA7AA}"/>
                  </a:ext>
                </a:extLst>
              </p:cNvPr>
              <p:cNvSpPr/>
              <p:nvPr/>
            </p:nvSpPr>
            <p:spPr bwMode="auto">
              <a:xfrm rot="5400000">
                <a:off x="118690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C5E774E-5267-777B-E099-4AA24D882CCB}"/>
                  </a:ext>
                </a:extLst>
              </p:cNvPr>
              <p:cNvSpPr/>
              <p:nvPr/>
            </p:nvSpPr>
            <p:spPr bwMode="auto">
              <a:xfrm>
                <a:off x="59345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066CC9F6-B651-F2D5-C726-DBB970B82C48}"/>
                  </a:ext>
                </a:extLst>
              </p:cNvPr>
              <p:cNvSpPr/>
              <p:nvPr/>
            </p:nvSpPr>
            <p:spPr bwMode="auto">
              <a:xfrm rot="5400000">
                <a:off x="39563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DEB603B9-F1AD-A280-D081-930CA5045ED3}"/>
                  </a:ext>
                </a:extLst>
              </p:cNvPr>
              <p:cNvSpPr/>
              <p:nvPr/>
            </p:nvSpPr>
            <p:spPr bwMode="auto">
              <a:xfrm rot="5400000">
                <a:off x="19781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7A75424-081A-21D0-FD3F-24A0F7B93067}"/>
                  </a:ext>
                </a:extLst>
              </p:cNvPr>
              <p:cNvSpPr/>
              <p:nvPr/>
            </p:nvSpPr>
            <p:spPr bwMode="auto">
              <a:xfrm rot="5400000">
                <a:off x="0"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54AD13A-8999-2AD7-ACB0-8A7885185A56}"/>
                  </a:ext>
                </a:extLst>
              </p:cNvPr>
              <p:cNvSpPr/>
              <p:nvPr/>
            </p:nvSpPr>
            <p:spPr bwMode="auto">
              <a:xfrm>
                <a:off x="791267"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892072C5-EFDC-BF8F-5FF4-90ED48601C2F}"/>
                  </a:ext>
                </a:extLst>
              </p:cNvPr>
              <p:cNvSpPr/>
              <p:nvPr/>
            </p:nvSpPr>
            <p:spPr bwMode="auto">
              <a:xfrm>
                <a:off x="989083" y="2769740"/>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1C1D9B22-F84B-76EC-EAD6-E8E51C8A99B2}"/>
                </a:ext>
              </a:extLst>
            </p:cNvPr>
            <p:cNvGrpSpPr/>
            <p:nvPr/>
          </p:nvGrpSpPr>
          <p:grpSpPr>
            <a:xfrm>
              <a:off x="0" y="2994757"/>
              <a:ext cx="1647336" cy="64803"/>
              <a:chOff x="0" y="2143857"/>
              <a:chExt cx="1647336" cy="64803"/>
            </a:xfrm>
            <a:grpFill/>
          </p:grpSpPr>
          <p:sp>
            <p:nvSpPr>
              <p:cNvPr id="24" name="Oval 23">
                <a:extLst>
                  <a:ext uri="{FF2B5EF4-FFF2-40B4-BE49-F238E27FC236}">
                    <a16:creationId xmlns:a16="http://schemas.microsoft.com/office/drawing/2014/main" id="{F7544CC5-44C3-3B85-469B-EC335C813333}"/>
                  </a:ext>
                </a:extLst>
              </p:cNvPr>
              <p:cNvSpPr/>
              <p:nvPr/>
            </p:nvSpPr>
            <p:spPr bwMode="auto">
              <a:xfrm rot="5400000">
                <a:off x="15825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8D28A50-3AFC-B551-9745-3C2A16D8F6DA}"/>
                  </a:ext>
                </a:extLst>
              </p:cNvPr>
              <p:cNvSpPr/>
              <p:nvPr/>
            </p:nvSpPr>
            <p:spPr bwMode="auto">
              <a:xfrm rot="5400000">
                <a:off x="13847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A2C9A610-2142-CAC9-B135-417591FE0CE7}"/>
                  </a:ext>
                </a:extLst>
              </p:cNvPr>
              <p:cNvSpPr/>
              <p:nvPr/>
            </p:nvSpPr>
            <p:spPr bwMode="auto">
              <a:xfrm rot="5400000">
                <a:off x="118690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7232838E-BCBA-A6CC-9F23-4EBF3D2FFD61}"/>
                  </a:ext>
                </a:extLst>
              </p:cNvPr>
              <p:cNvSpPr/>
              <p:nvPr/>
            </p:nvSpPr>
            <p:spPr bwMode="auto">
              <a:xfrm>
                <a:off x="59345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0C6883B0-59EF-596C-A3F3-94671C4E4082}"/>
                  </a:ext>
                </a:extLst>
              </p:cNvPr>
              <p:cNvSpPr/>
              <p:nvPr/>
            </p:nvSpPr>
            <p:spPr bwMode="auto">
              <a:xfrm rot="5400000">
                <a:off x="39563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A5978B37-DDC4-4B1C-987A-E4C3539B68CE}"/>
                  </a:ext>
                </a:extLst>
              </p:cNvPr>
              <p:cNvSpPr/>
              <p:nvPr/>
            </p:nvSpPr>
            <p:spPr bwMode="auto">
              <a:xfrm rot="5400000">
                <a:off x="19781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0D680B7-0E1F-1FA3-7E94-93B924F96FF8}"/>
                  </a:ext>
                </a:extLst>
              </p:cNvPr>
              <p:cNvSpPr/>
              <p:nvPr/>
            </p:nvSpPr>
            <p:spPr bwMode="auto">
              <a:xfrm rot="5400000">
                <a:off x="0"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76895536-276A-D448-DA48-E142A73E6D29}"/>
                  </a:ext>
                </a:extLst>
              </p:cNvPr>
              <p:cNvSpPr/>
              <p:nvPr/>
            </p:nvSpPr>
            <p:spPr bwMode="auto">
              <a:xfrm>
                <a:off x="791267"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ECD4F65B-6DC0-8341-E2DD-9326858C8588}"/>
                  </a:ext>
                </a:extLst>
              </p:cNvPr>
              <p:cNvSpPr/>
              <p:nvPr/>
            </p:nvSpPr>
            <p:spPr bwMode="auto">
              <a:xfrm>
                <a:off x="989083" y="2143857"/>
                <a:ext cx="64803" cy="648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69" name="Group 68">
            <a:extLst>
              <a:ext uri="{FF2B5EF4-FFF2-40B4-BE49-F238E27FC236}">
                <a16:creationId xmlns:a16="http://schemas.microsoft.com/office/drawing/2014/main" id="{7EFACC46-D7C6-A9C9-A713-51BBDF6E0826}"/>
              </a:ext>
            </a:extLst>
          </p:cNvPr>
          <p:cNvGrpSpPr/>
          <p:nvPr userDrawn="1"/>
        </p:nvGrpSpPr>
        <p:grpSpPr>
          <a:xfrm>
            <a:off x="10348517" y="5559865"/>
            <a:ext cx="1843479" cy="1298140"/>
            <a:chOff x="10348517" y="5559865"/>
            <a:chExt cx="1843479" cy="1298140"/>
          </a:xfrm>
        </p:grpSpPr>
        <p:grpSp>
          <p:nvGrpSpPr>
            <p:cNvPr id="70" name="Graphic 8">
              <a:extLst>
                <a:ext uri="{FF2B5EF4-FFF2-40B4-BE49-F238E27FC236}">
                  <a16:creationId xmlns:a16="http://schemas.microsoft.com/office/drawing/2014/main" id="{352583EF-A44C-30BC-DF51-A58388043305}"/>
                </a:ext>
              </a:extLst>
            </p:cNvPr>
            <p:cNvGrpSpPr/>
            <p:nvPr/>
          </p:nvGrpSpPr>
          <p:grpSpPr>
            <a:xfrm flipH="1">
              <a:off x="10348517" y="5687417"/>
              <a:ext cx="1563963" cy="1170588"/>
              <a:chOff x="5302292" y="8602600"/>
              <a:chExt cx="1381243" cy="1033826"/>
            </a:xfrm>
          </p:grpSpPr>
          <p:sp>
            <p:nvSpPr>
              <p:cNvPr id="76" name="Freeform: Shape 75">
                <a:extLst>
                  <a:ext uri="{FF2B5EF4-FFF2-40B4-BE49-F238E27FC236}">
                    <a16:creationId xmlns:a16="http://schemas.microsoft.com/office/drawing/2014/main" id="{275B7312-75C1-319A-B5F7-65094F88892C}"/>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a:solidFill>
                  <a:schemeClr val="bg2">
                    <a:lumMod val="40000"/>
                    <a:lumOff val="6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BA8C487D-BDBE-F196-E82A-BEF7FD134ED6}"/>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bg2">
                    <a:lumMod val="40000"/>
                    <a:lumOff val="6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3813152B-3F53-FB86-B069-1A6D1F434A56}"/>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bg2">
                    <a:lumMod val="40000"/>
                    <a:lumOff val="6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C916D3A-E314-69C1-0E7E-EC479B137F8A}"/>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a:solidFill>
                  <a:schemeClr val="bg2">
                    <a:lumMod val="40000"/>
                    <a:lumOff val="6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aphic 8">
              <a:extLst>
                <a:ext uri="{FF2B5EF4-FFF2-40B4-BE49-F238E27FC236}">
                  <a16:creationId xmlns:a16="http://schemas.microsoft.com/office/drawing/2014/main" id="{10392A2F-ABC4-CCDE-715B-1A1C9DD77AA2}"/>
                </a:ext>
              </a:extLst>
            </p:cNvPr>
            <p:cNvGrpSpPr/>
            <p:nvPr/>
          </p:nvGrpSpPr>
          <p:grpSpPr>
            <a:xfrm flipH="1">
              <a:off x="11280562" y="5559865"/>
              <a:ext cx="911434" cy="1298132"/>
              <a:chOff x="5055426" y="8489952"/>
              <a:chExt cx="804949" cy="1146469"/>
            </a:xfrm>
          </p:grpSpPr>
          <p:sp>
            <p:nvSpPr>
              <p:cNvPr id="72" name="Freeform: Shape 71">
                <a:extLst>
                  <a:ext uri="{FF2B5EF4-FFF2-40B4-BE49-F238E27FC236}">
                    <a16:creationId xmlns:a16="http://schemas.microsoft.com/office/drawing/2014/main" id="{DA1BE768-C446-2BBC-8B4B-82BB8537E644}"/>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a:solidFill>
                  <a:schemeClr val="bg2">
                    <a:lumMod val="40000"/>
                    <a:lumOff val="6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6B75C75-110C-F534-F18D-2EC1E6583E06}"/>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a:solidFill>
                  <a:schemeClr val="bg2">
                    <a:lumMod val="40000"/>
                    <a:lumOff val="6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1F3A462-2CFA-EC34-F2E5-2DD79D1BA34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a:solidFill>
                  <a:schemeClr val="bg2">
                    <a:lumMod val="40000"/>
                    <a:lumOff val="6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6FD0968-77A6-E12D-A940-20167CABAB77}"/>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a:solidFill>
                  <a:schemeClr val="bg2">
                    <a:lumMod val="40000"/>
                    <a:lumOff val="6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0" name="TextBox 79">
            <a:extLst>
              <a:ext uri="{FF2B5EF4-FFF2-40B4-BE49-F238E27FC236}">
                <a16:creationId xmlns:a16="http://schemas.microsoft.com/office/drawing/2014/main" id="{CF4122C2-0364-1B55-B2B7-9EFB1BF42341}"/>
              </a:ext>
            </a:extLst>
          </p:cNvPr>
          <p:cNvSpPr txBox="1"/>
          <p:nvPr userDrawn="1"/>
        </p:nvSpPr>
        <p:spPr>
          <a:xfrm>
            <a:off x="361661" y="3013502"/>
            <a:ext cx="3130970" cy="830997"/>
          </a:xfrm>
          <a:prstGeom prst="rect">
            <a:avLst/>
          </a:prstGeom>
          <a:noFill/>
        </p:spPr>
        <p:txBody>
          <a:bodyPr wrap="square" lIns="0" tIns="0" rIns="0" bIns="0" rtlCol="0">
            <a:spAutoFit/>
          </a:bodyPr>
          <a:lstStyle/>
          <a:p>
            <a:pPr algn="l"/>
            <a:r>
              <a:rPr lang="en-US" sz="5400" b="1">
                <a:solidFill>
                  <a:schemeClr val="tx2"/>
                </a:solidFill>
                <a:latin typeface="+mj-lt"/>
              </a:rPr>
              <a:t>Agenda</a:t>
            </a:r>
          </a:p>
        </p:txBody>
      </p:sp>
      <p:sp>
        <p:nvSpPr>
          <p:cNvPr id="88" name="Text Placeholder 2">
            <a:extLst>
              <a:ext uri="{FF2B5EF4-FFF2-40B4-BE49-F238E27FC236}">
                <a16:creationId xmlns:a16="http://schemas.microsoft.com/office/drawing/2014/main" id="{80CA7126-A722-4A6D-94E4-86D5D8B0DACC}"/>
              </a:ext>
            </a:extLst>
          </p:cNvPr>
          <p:cNvSpPr>
            <a:spLocks noGrp="1"/>
          </p:cNvSpPr>
          <p:nvPr>
            <p:ph type="body" sz="quarter" idx="10"/>
          </p:nvPr>
        </p:nvSpPr>
        <p:spPr>
          <a:xfrm>
            <a:off x="5656602" y="1399251"/>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89" name="Text Placeholder 2">
            <a:extLst>
              <a:ext uri="{FF2B5EF4-FFF2-40B4-BE49-F238E27FC236}">
                <a16:creationId xmlns:a16="http://schemas.microsoft.com/office/drawing/2014/main" id="{C91922D3-B3BD-6E24-7894-81A764EE130D}"/>
              </a:ext>
            </a:extLst>
          </p:cNvPr>
          <p:cNvSpPr>
            <a:spLocks noGrp="1"/>
          </p:cNvSpPr>
          <p:nvPr>
            <p:ph type="body" sz="quarter" idx="11"/>
          </p:nvPr>
        </p:nvSpPr>
        <p:spPr>
          <a:xfrm>
            <a:off x="5656602" y="2689079"/>
            <a:ext cx="6070600" cy="307777"/>
          </a:xfrm>
        </p:spPr>
        <p:txBody>
          <a:bodyPr/>
          <a:lstStyle>
            <a:lvl1pPr marL="0" indent="0">
              <a:buNone/>
              <a:defRPr sz="2000">
                <a:solidFill>
                  <a:schemeClr val="tx2"/>
                </a:solidFill>
                <a:latin typeface="+mj-lt"/>
              </a:defRPr>
            </a:lvl1pPr>
          </a:lstStyle>
          <a:p>
            <a:pPr lvl="0"/>
            <a:r>
              <a:rPr lang="en-US"/>
              <a:t>Click to edit Master text styles</a:t>
            </a:r>
          </a:p>
        </p:txBody>
      </p:sp>
      <p:sp>
        <p:nvSpPr>
          <p:cNvPr id="90" name="Text Placeholder 2">
            <a:extLst>
              <a:ext uri="{FF2B5EF4-FFF2-40B4-BE49-F238E27FC236}">
                <a16:creationId xmlns:a16="http://schemas.microsoft.com/office/drawing/2014/main" id="{D0BA5C99-C35F-4CB1-F304-4E0A03ADA13D}"/>
              </a:ext>
            </a:extLst>
          </p:cNvPr>
          <p:cNvSpPr>
            <a:spLocks noGrp="1"/>
          </p:cNvSpPr>
          <p:nvPr>
            <p:ph type="body" sz="quarter" idx="12"/>
          </p:nvPr>
        </p:nvSpPr>
        <p:spPr>
          <a:xfrm>
            <a:off x="5656602" y="4009685"/>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
        <p:nvSpPr>
          <p:cNvPr id="91" name="Text Placeholder 2">
            <a:extLst>
              <a:ext uri="{FF2B5EF4-FFF2-40B4-BE49-F238E27FC236}">
                <a16:creationId xmlns:a16="http://schemas.microsoft.com/office/drawing/2014/main" id="{01D53BFC-2D97-154F-8FFE-EE1BE62B5442}"/>
              </a:ext>
            </a:extLst>
          </p:cNvPr>
          <p:cNvSpPr>
            <a:spLocks noGrp="1"/>
          </p:cNvSpPr>
          <p:nvPr>
            <p:ph type="body" sz="quarter" idx="13"/>
          </p:nvPr>
        </p:nvSpPr>
        <p:spPr>
          <a:xfrm>
            <a:off x="5656602" y="5299514"/>
            <a:ext cx="6070600" cy="276999"/>
          </a:xfrm>
        </p:spPr>
        <p:txBody>
          <a:bodyPr/>
          <a:lstStyle>
            <a:lvl1pPr marL="0" indent="0">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35451405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906ECE1D-8677-BBB5-4B8C-8B79C77928E7}"/>
              </a:ext>
            </a:extLst>
          </p:cNvPr>
          <p:cNvSpPr/>
          <p:nvPr userDrawn="1"/>
        </p:nvSpPr>
        <p:spPr>
          <a:xfrm>
            <a:off x="531361" y="4955412"/>
            <a:ext cx="1462540" cy="1390022"/>
          </a:xfrm>
          <a:custGeom>
            <a:avLst/>
            <a:gdLst>
              <a:gd name="connsiteX0" fmla="*/ 1182547 w 1182546"/>
              <a:gd name="connsiteY0" fmla="*/ 595820 h 1191639"/>
              <a:gd name="connsiteX1" fmla="*/ 591273 w 1182546"/>
              <a:gd name="connsiteY1" fmla="*/ 1191640 h 1191639"/>
              <a:gd name="connsiteX2" fmla="*/ 0 w 1182546"/>
              <a:gd name="connsiteY2" fmla="*/ 595820 h 1191639"/>
              <a:gd name="connsiteX3" fmla="*/ 591273 w 1182546"/>
              <a:gd name="connsiteY3" fmla="*/ 0 h 1191639"/>
              <a:gd name="connsiteX4" fmla="*/ 1182547 w 1182546"/>
              <a:gd name="connsiteY4" fmla="*/ 595820 h 1191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546" h="1191639">
                <a:moveTo>
                  <a:pt x="1182547" y="595820"/>
                </a:moveTo>
                <a:cubicBezTo>
                  <a:pt x="1182547" y="924882"/>
                  <a:pt x="917825" y="1191640"/>
                  <a:pt x="591273" y="1191640"/>
                </a:cubicBezTo>
                <a:cubicBezTo>
                  <a:pt x="264721" y="1191640"/>
                  <a:pt x="0" y="924882"/>
                  <a:pt x="0" y="595820"/>
                </a:cubicBezTo>
                <a:cubicBezTo>
                  <a:pt x="0" y="266758"/>
                  <a:pt x="264721" y="0"/>
                  <a:pt x="591273" y="0"/>
                </a:cubicBezTo>
                <a:cubicBezTo>
                  <a:pt x="917825" y="0"/>
                  <a:pt x="1182547" y="266758"/>
                  <a:pt x="1182547" y="595820"/>
                </a:cubicBezTo>
                <a:close/>
              </a:path>
            </a:pathLst>
          </a:custGeom>
          <a:pattFill prst="wdDnDiag">
            <a:fgClr>
              <a:schemeClr val="accent2">
                <a:lumMod val="20000"/>
                <a:lumOff val="80000"/>
              </a:schemeClr>
            </a:fgClr>
            <a:bgClr>
              <a:schemeClr val="bg1"/>
            </a:bgClr>
          </a:pattFill>
          <a:ln w="144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B1BB3C6A-CD88-BA7F-FDD5-766DB2850DCF}"/>
              </a:ext>
            </a:extLst>
          </p:cNvPr>
          <p:cNvSpPr/>
          <p:nvPr userDrawn="1"/>
        </p:nvSpPr>
        <p:spPr>
          <a:xfrm flipV="1">
            <a:off x="1" y="2085662"/>
            <a:ext cx="12191998" cy="3282750"/>
          </a:xfrm>
          <a:custGeom>
            <a:avLst/>
            <a:gdLst>
              <a:gd name="connsiteX0" fmla="*/ 225390 w 12191998"/>
              <a:gd name="connsiteY0" fmla="*/ 3282750 h 3282750"/>
              <a:gd name="connsiteX1" fmla="*/ 9880096 w 12191998"/>
              <a:gd name="connsiteY1" fmla="*/ 3282750 h 3282750"/>
              <a:gd name="connsiteX2" fmla="*/ 10320199 w 12191998"/>
              <a:gd name="connsiteY2" fmla="*/ 3100060 h 3282750"/>
              <a:gd name="connsiteX3" fmla="*/ 12191998 w 12191998"/>
              <a:gd name="connsiteY3" fmla="*/ 1221634 h 3282750"/>
              <a:gd name="connsiteX4" fmla="*/ 12191998 w 12191998"/>
              <a:gd name="connsiteY4" fmla="*/ 1523 h 3282750"/>
              <a:gd name="connsiteX5" fmla="*/ 11409355 w 12191998"/>
              <a:gd name="connsiteY5" fmla="*/ 1523 h 3282750"/>
              <a:gd name="connsiteX6" fmla="*/ 11410872 w 12191998"/>
              <a:gd name="connsiteY6" fmla="*/ 0 h 3282750"/>
              <a:gd name="connsiteX7" fmla="*/ 9138442 w 12191998"/>
              <a:gd name="connsiteY7" fmla="*/ 0 h 3282750"/>
              <a:gd name="connsiteX8" fmla="*/ 6866012 w 12191998"/>
              <a:gd name="connsiteY8" fmla="*/ 0 h 3282750"/>
              <a:gd name="connsiteX9" fmla="*/ 5045748 w 12191998"/>
              <a:gd name="connsiteY9" fmla="*/ 0 h 3282750"/>
              <a:gd name="connsiteX10" fmla="*/ 4593580 w 12191998"/>
              <a:gd name="connsiteY10" fmla="*/ 0 h 3282750"/>
              <a:gd name="connsiteX11" fmla="*/ 2773318 w 12191998"/>
              <a:gd name="connsiteY11" fmla="*/ 0 h 3282750"/>
              <a:gd name="connsiteX12" fmla="*/ 500887 w 12191998"/>
              <a:gd name="connsiteY12" fmla="*/ 0 h 3282750"/>
              <a:gd name="connsiteX13" fmla="*/ 0 w 12191998"/>
              <a:gd name="connsiteY13" fmla="*/ 0 h 3282750"/>
              <a:gd name="connsiteX14" fmla="*/ 0 w 12191998"/>
              <a:gd name="connsiteY14" fmla="*/ 3282749 h 3282750"/>
              <a:gd name="connsiteX15" fmla="*/ 225390 w 12191998"/>
              <a:gd name="connsiteY15" fmla="*/ 3282749 h 32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8" h="3282750">
                <a:moveTo>
                  <a:pt x="225390" y="3282750"/>
                </a:moveTo>
                <a:lnTo>
                  <a:pt x="9880096" y="3282750"/>
                </a:lnTo>
                <a:cubicBezTo>
                  <a:pt x="10045266" y="3282750"/>
                  <a:pt x="10203546" y="3217012"/>
                  <a:pt x="10320199" y="3100060"/>
                </a:cubicBezTo>
                <a:lnTo>
                  <a:pt x="12191998" y="1221634"/>
                </a:lnTo>
                <a:lnTo>
                  <a:pt x="12191998" y="1523"/>
                </a:lnTo>
                <a:lnTo>
                  <a:pt x="11409355" y="1523"/>
                </a:lnTo>
                <a:lnTo>
                  <a:pt x="11410872" y="0"/>
                </a:lnTo>
                <a:lnTo>
                  <a:pt x="9138442" y="0"/>
                </a:lnTo>
                <a:lnTo>
                  <a:pt x="6866012" y="0"/>
                </a:lnTo>
                <a:lnTo>
                  <a:pt x="5045748" y="0"/>
                </a:lnTo>
                <a:lnTo>
                  <a:pt x="4593580" y="0"/>
                </a:lnTo>
                <a:lnTo>
                  <a:pt x="2773318" y="0"/>
                </a:lnTo>
                <a:lnTo>
                  <a:pt x="500887" y="0"/>
                </a:lnTo>
                <a:lnTo>
                  <a:pt x="0" y="0"/>
                </a:lnTo>
                <a:lnTo>
                  <a:pt x="0" y="3282749"/>
                </a:lnTo>
                <a:lnTo>
                  <a:pt x="225390" y="3282749"/>
                </a:lnTo>
                <a:close/>
              </a:path>
            </a:pathLst>
          </a:custGeom>
          <a:solidFill>
            <a:schemeClr val="bg1">
              <a:lumMod val="95000"/>
            </a:schemeClr>
          </a:solidFill>
          <a:ln w="144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DF69AE36-ABC0-A0B5-13F2-73AFBA4E6484}"/>
              </a:ext>
            </a:extLst>
          </p:cNvPr>
          <p:cNvSpPr/>
          <p:nvPr userDrawn="1"/>
        </p:nvSpPr>
        <p:spPr>
          <a:xfrm flipV="1">
            <a:off x="7329714" y="0"/>
            <a:ext cx="4862286" cy="3709134"/>
          </a:xfrm>
          <a:custGeom>
            <a:avLst/>
            <a:gdLst>
              <a:gd name="connsiteX0" fmla="*/ 5285805 w 5285804"/>
              <a:gd name="connsiteY0" fmla="*/ 0 h 4032209"/>
              <a:gd name="connsiteX1" fmla="*/ 5285805 w 5285804"/>
              <a:gd name="connsiteY1" fmla="*/ 4032209 h 4032209"/>
              <a:gd name="connsiteX2" fmla="*/ 0 w 5285804"/>
              <a:gd name="connsiteY2" fmla="*/ 4032209 h 4032209"/>
              <a:gd name="connsiteX3" fmla="*/ 0 w 5285804"/>
              <a:gd name="connsiteY3" fmla="*/ 3667624 h 4032209"/>
              <a:gd name="connsiteX4" fmla="*/ 1241008 w 5285804"/>
              <a:gd name="connsiteY4" fmla="*/ 2150979 h 4032209"/>
              <a:gd name="connsiteX5" fmla="*/ 1533020 w 5285804"/>
              <a:gd name="connsiteY5" fmla="*/ 2122817 h 4032209"/>
              <a:gd name="connsiteX6" fmla="*/ 2777955 w 5285804"/>
              <a:gd name="connsiteY6" fmla="*/ 2122817 h 4032209"/>
              <a:gd name="connsiteX7" fmla="*/ 3592354 w 5285804"/>
              <a:gd name="connsiteY7" fmla="*/ 1773606 h 4032209"/>
              <a:gd name="connsiteX8" fmla="*/ 4093289 w 5285804"/>
              <a:gd name="connsiteY8" fmla="*/ 1249029 h 4032209"/>
              <a:gd name="connsiteX9" fmla="*/ 4216408 w 5285804"/>
              <a:gd name="connsiteY9" fmla="*/ 1120092 h 4032209"/>
              <a:gd name="connsiteX10" fmla="*/ 5285503 w 5285804"/>
              <a:gd name="connsiteY10" fmla="*/ 305 h 4032209"/>
              <a:gd name="connsiteX11" fmla="*/ 5285805 w 5285804"/>
              <a:gd name="connsiteY11" fmla="*/ 0 h 4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804" h="4032209">
                <a:moveTo>
                  <a:pt x="5285805" y="0"/>
                </a:moveTo>
                <a:lnTo>
                  <a:pt x="5285805" y="4032209"/>
                </a:lnTo>
                <a:lnTo>
                  <a:pt x="0" y="4032209"/>
                </a:lnTo>
                <a:lnTo>
                  <a:pt x="0" y="3667624"/>
                </a:lnTo>
                <a:cubicBezTo>
                  <a:pt x="0" y="2915010"/>
                  <a:pt x="534019" y="2288288"/>
                  <a:pt x="1241008" y="2150979"/>
                </a:cubicBezTo>
                <a:cubicBezTo>
                  <a:pt x="1335576" y="2132407"/>
                  <a:pt x="1433165" y="2122817"/>
                  <a:pt x="1533020" y="2122817"/>
                </a:cubicBezTo>
                <a:lnTo>
                  <a:pt x="2777955" y="2122817"/>
                </a:lnTo>
                <a:cubicBezTo>
                  <a:pt x="3085224" y="2122817"/>
                  <a:pt x="3379199" y="1996772"/>
                  <a:pt x="3592354" y="1773606"/>
                </a:cubicBezTo>
                <a:lnTo>
                  <a:pt x="4093289" y="1249029"/>
                </a:lnTo>
                <a:lnTo>
                  <a:pt x="4216408" y="1120092"/>
                </a:lnTo>
                <a:lnTo>
                  <a:pt x="5285503" y="305"/>
                </a:lnTo>
                <a:lnTo>
                  <a:pt x="5285805" y="0"/>
                </a:lnTo>
                <a:close/>
              </a:path>
            </a:pathLst>
          </a:custGeom>
          <a:solidFill>
            <a:schemeClr val="bg2">
              <a:lumMod val="20000"/>
              <a:lumOff val="80000"/>
              <a:alpha val="30000"/>
            </a:schemeClr>
          </a:solidFill>
          <a:ln w="144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CD0F9DFA-B0C9-1937-80E5-EA456BAF951E}"/>
              </a:ext>
            </a:extLst>
          </p:cNvPr>
          <p:cNvGrpSpPr/>
          <p:nvPr userDrawn="1"/>
        </p:nvGrpSpPr>
        <p:grpSpPr>
          <a:xfrm>
            <a:off x="10348517" y="5559865"/>
            <a:ext cx="1843479" cy="1298140"/>
            <a:chOff x="10348517" y="5559865"/>
            <a:chExt cx="1843479" cy="1298140"/>
          </a:xfrm>
        </p:grpSpPr>
        <p:grpSp>
          <p:nvGrpSpPr>
            <p:cNvPr id="10" name="Graphic 8">
              <a:extLst>
                <a:ext uri="{FF2B5EF4-FFF2-40B4-BE49-F238E27FC236}">
                  <a16:creationId xmlns:a16="http://schemas.microsoft.com/office/drawing/2014/main" id="{18E258A2-A83D-6978-F256-633D89BA78CE}"/>
                </a:ext>
              </a:extLst>
            </p:cNvPr>
            <p:cNvGrpSpPr/>
            <p:nvPr/>
          </p:nvGrpSpPr>
          <p:grpSpPr>
            <a:xfrm flipH="1">
              <a:off x="10348517" y="5687417"/>
              <a:ext cx="1563963" cy="1170588"/>
              <a:chOff x="5302292" y="8602600"/>
              <a:chExt cx="1381243" cy="1033826"/>
            </a:xfrm>
          </p:grpSpPr>
          <p:sp>
            <p:nvSpPr>
              <p:cNvPr id="16" name="Freeform: Shape 15">
                <a:extLst>
                  <a:ext uri="{FF2B5EF4-FFF2-40B4-BE49-F238E27FC236}">
                    <a16:creationId xmlns:a16="http://schemas.microsoft.com/office/drawing/2014/main" id="{8A533A25-F914-A9A5-D84A-ABC9EEC08341}"/>
                  </a:ext>
                </a:extLst>
              </p:cNvPr>
              <p:cNvSpPr/>
              <p:nvPr/>
            </p:nvSpPr>
            <p:spPr>
              <a:xfrm>
                <a:off x="6012986" y="8960641"/>
                <a:ext cx="670549" cy="675785"/>
              </a:xfrm>
              <a:custGeom>
                <a:avLst/>
                <a:gdLst>
                  <a:gd name="connsiteX0" fmla="*/ 1290709 w 1290709"/>
                  <a:gd name="connsiteY0" fmla="*/ 0 h 1300786"/>
                  <a:gd name="connsiteX1" fmla="*/ 0 w 1290709"/>
                  <a:gd name="connsiteY1" fmla="*/ 1300786 h 1300786"/>
                </a:gdLst>
                <a:ahLst/>
                <a:cxnLst>
                  <a:cxn ang="0">
                    <a:pos x="connsiteX0" y="connsiteY0"/>
                  </a:cxn>
                  <a:cxn ang="0">
                    <a:pos x="connsiteX1" y="connsiteY1"/>
                  </a:cxn>
                </a:cxnLst>
                <a:rect l="l" t="t" r="r" b="b"/>
                <a:pathLst>
                  <a:path w="1290709" h="1300786">
                    <a:moveTo>
                      <a:pt x="1290709" y="0"/>
                    </a:moveTo>
                    <a:lnTo>
                      <a:pt x="0" y="1300786"/>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2ECA051C-090C-899C-CBE2-FAE5D15C197C}"/>
                  </a:ext>
                </a:extLst>
              </p:cNvPr>
              <p:cNvSpPr/>
              <p:nvPr/>
            </p:nvSpPr>
            <p:spPr>
              <a:xfrm>
                <a:off x="5776035" y="8841293"/>
                <a:ext cx="789064" cy="795131"/>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C8EE1125-D59B-5748-163B-4E0B86A09A5C}"/>
                  </a:ext>
                </a:extLst>
              </p:cNvPr>
              <p:cNvSpPr/>
              <p:nvPr/>
            </p:nvSpPr>
            <p:spPr>
              <a:xfrm>
                <a:off x="5539166" y="8721948"/>
                <a:ext cx="907497" cy="914475"/>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77F66EB3-F27A-3DA9-9DAD-88A6C0178165}"/>
                  </a:ext>
                </a:extLst>
              </p:cNvPr>
              <p:cNvSpPr/>
              <p:nvPr/>
            </p:nvSpPr>
            <p:spPr>
              <a:xfrm>
                <a:off x="5302292" y="8602600"/>
                <a:ext cx="1025935" cy="1033824"/>
              </a:xfrm>
              <a:custGeom>
                <a:avLst/>
                <a:gdLst>
                  <a:gd name="connsiteX0" fmla="*/ 1290860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0" y="0"/>
                    </a:moveTo>
                    <a:lnTo>
                      <a:pt x="0" y="1300786"/>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aphic 8">
              <a:extLst>
                <a:ext uri="{FF2B5EF4-FFF2-40B4-BE49-F238E27FC236}">
                  <a16:creationId xmlns:a16="http://schemas.microsoft.com/office/drawing/2014/main" id="{D2F46483-8FB7-2F57-3F95-FF57C18153ED}"/>
                </a:ext>
              </a:extLst>
            </p:cNvPr>
            <p:cNvGrpSpPr/>
            <p:nvPr/>
          </p:nvGrpSpPr>
          <p:grpSpPr>
            <a:xfrm flipH="1">
              <a:off x="11280562" y="5559865"/>
              <a:ext cx="911434" cy="1298132"/>
              <a:chOff x="5055426" y="8489952"/>
              <a:chExt cx="804949" cy="1146469"/>
            </a:xfrm>
          </p:grpSpPr>
          <p:sp>
            <p:nvSpPr>
              <p:cNvPr id="12" name="Freeform: Shape 11">
                <a:extLst>
                  <a:ext uri="{FF2B5EF4-FFF2-40B4-BE49-F238E27FC236}">
                    <a16:creationId xmlns:a16="http://schemas.microsoft.com/office/drawing/2014/main" id="{2B7E7AA8-1F3D-2007-E572-37DAA0AE6FCC}"/>
                  </a:ext>
                </a:extLst>
              </p:cNvPr>
              <p:cNvSpPr/>
              <p:nvPr/>
            </p:nvSpPr>
            <p:spPr>
              <a:xfrm>
                <a:off x="5078021" y="8848144"/>
                <a:ext cx="782354" cy="788277"/>
              </a:xfrm>
              <a:custGeom>
                <a:avLst/>
                <a:gdLst>
                  <a:gd name="connsiteX0" fmla="*/ 1290861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1" y="0"/>
                    </a:moveTo>
                    <a:lnTo>
                      <a:pt x="0" y="1300634"/>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780F600B-49DE-1101-D909-296849FE7D45}"/>
                  </a:ext>
                </a:extLst>
              </p:cNvPr>
              <p:cNvSpPr/>
              <p:nvPr/>
            </p:nvSpPr>
            <p:spPr>
              <a:xfrm>
                <a:off x="5055426" y="8728797"/>
                <a:ext cx="686515" cy="691712"/>
              </a:xfrm>
              <a:custGeom>
                <a:avLst/>
                <a:gdLst>
                  <a:gd name="connsiteX0" fmla="*/ 1290860 w 1290860"/>
                  <a:gd name="connsiteY0" fmla="*/ 0 h 1300634"/>
                  <a:gd name="connsiteX1" fmla="*/ 0 w 1290860"/>
                  <a:gd name="connsiteY1" fmla="*/ 1300634 h 1300634"/>
                </a:gdLst>
                <a:ahLst/>
                <a:cxnLst>
                  <a:cxn ang="0">
                    <a:pos x="connsiteX0" y="connsiteY0"/>
                  </a:cxn>
                  <a:cxn ang="0">
                    <a:pos x="connsiteX1" y="connsiteY1"/>
                  </a:cxn>
                </a:cxnLst>
                <a:rect l="l" t="t" r="r" b="b"/>
                <a:pathLst>
                  <a:path w="1290860" h="1300634">
                    <a:moveTo>
                      <a:pt x="1290860" y="0"/>
                    </a:moveTo>
                    <a:lnTo>
                      <a:pt x="0" y="1300634"/>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29E6E00F-F05F-6D76-DA36-61817B43FCB1}"/>
                  </a:ext>
                </a:extLst>
              </p:cNvPr>
              <p:cNvSpPr/>
              <p:nvPr/>
            </p:nvSpPr>
            <p:spPr>
              <a:xfrm>
                <a:off x="5055426" y="8609299"/>
                <a:ext cx="568078" cy="572447"/>
              </a:xfrm>
              <a:custGeom>
                <a:avLst/>
                <a:gdLst>
                  <a:gd name="connsiteX0" fmla="*/ 1290861 w 1290860"/>
                  <a:gd name="connsiteY0" fmla="*/ 0 h 1300786"/>
                  <a:gd name="connsiteX1" fmla="*/ 0 w 1290860"/>
                  <a:gd name="connsiteY1" fmla="*/ 1300786 h 1300786"/>
                </a:gdLst>
                <a:ahLst/>
                <a:cxnLst>
                  <a:cxn ang="0">
                    <a:pos x="connsiteX0" y="connsiteY0"/>
                  </a:cxn>
                  <a:cxn ang="0">
                    <a:pos x="connsiteX1" y="connsiteY1"/>
                  </a:cxn>
                </a:cxnLst>
                <a:rect l="l" t="t" r="r" b="b"/>
                <a:pathLst>
                  <a:path w="1290860" h="1300786">
                    <a:moveTo>
                      <a:pt x="1290861" y="0"/>
                    </a:moveTo>
                    <a:lnTo>
                      <a:pt x="0" y="1300786"/>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9BBB7E2B-5BA6-CD57-275B-046906683F48}"/>
                  </a:ext>
                </a:extLst>
              </p:cNvPr>
              <p:cNvSpPr/>
              <p:nvPr/>
            </p:nvSpPr>
            <p:spPr>
              <a:xfrm>
                <a:off x="5055426" y="8489952"/>
                <a:ext cx="449490" cy="453000"/>
              </a:xfrm>
              <a:custGeom>
                <a:avLst/>
                <a:gdLst>
                  <a:gd name="connsiteX0" fmla="*/ 1290709 w 1290709"/>
                  <a:gd name="connsiteY0" fmla="*/ 0 h 1300786"/>
                  <a:gd name="connsiteX1" fmla="*/ 0 w 1290709"/>
                  <a:gd name="connsiteY1" fmla="*/ 1300787 h 1300786"/>
                </a:gdLst>
                <a:ahLst/>
                <a:cxnLst>
                  <a:cxn ang="0">
                    <a:pos x="connsiteX0" y="connsiteY0"/>
                  </a:cxn>
                  <a:cxn ang="0">
                    <a:pos x="connsiteX1" y="connsiteY1"/>
                  </a:cxn>
                </a:cxnLst>
                <a:rect l="l" t="t" r="r" b="b"/>
                <a:pathLst>
                  <a:path w="1290709" h="1300786">
                    <a:moveTo>
                      <a:pt x="1290709" y="0"/>
                    </a:moveTo>
                    <a:lnTo>
                      <a:pt x="0" y="1300787"/>
                    </a:lnTo>
                  </a:path>
                </a:pathLst>
              </a:custGeom>
              <a:ln w="127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20" name="Graphic 19">
            <a:extLst>
              <a:ext uri="{FF2B5EF4-FFF2-40B4-BE49-F238E27FC236}">
                <a16:creationId xmlns:a16="http://schemas.microsoft.com/office/drawing/2014/main" id="{91F8438C-7CCE-EA71-2D22-E0363782C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19161" y="2357437"/>
            <a:ext cx="5866264" cy="423863"/>
          </a:xfrm>
          <a:prstGeom prst="rect">
            <a:avLst/>
          </a:prstGeom>
        </p:spPr>
      </p:pic>
      <p:sp>
        <p:nvSpPr>
          <p:cNvPr id="9" name="Title 1"/>
          <p:cNvSpPr>
            <a:spLocks noGrp="1"/>
          </p:cNvSpPr>
          <p:nvPr>
            <p:ph type="title" hasCustomPrompt="1"/>
          </p:nvPr>
        </p:nvSpPr>
        <p:spPr>
          <a:xfrm>
            <a:off x="604894" y="2896041"/>
            <a:ext cx="8374006" cy="1661993"/>
          </a:xfrm>
          <a:noFill/>
        </p:spPr>
        <p:txBody>
          <a:bodyPr wrap="square" lIns="0" tIns="0" rIns="0" bIns="0" anchor="ctr" anchorCtr="0">
            <a:spAutoFit/>
          </a:bodyPr>
          <a:lstStyle>
            <a:lvl1pPr marL="0" algn="l" defTabSz="932742" rtl="0" eaLnBrk="1" latinLnBrk="0" hangingPunct="1">
              <a:lnSpc>
                <a:spcPct val="100000"/>
              </a:lnSpc>
              <a:spcBef>
                <a:spcPct val="0"/>
              </a:spcBef>
              <a:buNone/>
              <a:defRPr lang="en-US" sz="5400" b="0" kern="1200" cap="none" spc="-50" baseline="0" dirty="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Event name or presentation title </a:t>
            </a:r>
          </a:p>
        </p:txBody>
      </p:sp>
    </p:spTree>
    <p:extLst>
      <p:ext uri="{BB962C8B-B14F-4D97-AF65-F5344CB8AC3E}">
        <p14:creationId xmlns:p14="http://schemas.microsoft.com/office/powerpoint/2010/main" val="10709246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214670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2122966"/>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ustom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2" name="Content Placeholder 11">
            <a:extLst>
              <a:ext uri="{FF2B5EF4-FFF2-40B4-BE49-F238E27FC236}">
                <a16:creationId xmlns:a16="http://schemas.microsoft.com/office/drawing/2014/main" id="{A3286333-C615-9496-3ADE-88D5520AD5B7}"/>
              </a:ext>
            </a:extLst>
          </p:cNvPr>
          <p:cNvSpPr>
            <a:spLocks noGrp="1"/>
          </p:cNvSpPr>
          <p:nvPr>
            <p:ph sz="quarter" idx="14" hasCustomPrompt="1"/>
          </p:nvPr>
        </p:nvSpPr>
        <p:spPr>
          <a:xfrm>
            <a:off x="584200" y="6460362"/>
            <a:ext cx="11027664" cy="138499"/>
          </a:xfrm>
        </p:spPr>
        <p:txBody>
          <a:bodyPr anchor="b"/>
          <a:lstStyle>
            <a:lvl1pPr marL="0" indent="0">
              <a:buNone/>
              <a:defRPr sz="900">
                <a:solidFill>
                  <a:schemeClr val="bg1">
                    <a:lumMod val="50000"/>
                  </a:schemeClr>
                </a:solidFill>
              </a:defRPr>
            </a:lvl1pPr>
          </a:lstStyle>
          <a:p>
            <a:pPr lvl="0"/>
            <a:r>
              <a:rPr lang="en-US"/>
              <a:t>Add text here</a:t>
            </a:r>
          </a:p>
        </p:txBody>
      </p:sp>
    </p:spTree>
    <p:extLst>
      <p:ext uri="{BB962C8B-B14F-4D97-AF65-F5344CB8AC3E}">
        <p14:creationId xmlns:p14="http://schemas.microsoft.com/office/powerpoint/2010/main" val="1301450214"/>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with logo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93237"/>
            <a:ext cx="927394" cy="927392"/>
          </a:xfrm>
          <a:prstGeom prst="rect">
            <a:avLst/>
          </a:prstGeom>
        </p:spPr>
        <p:txBody>
          <a:bodyPr wrap="none" anchor="ctr">
            <a:noAutofit/>
          </a:bodyPr>
          <a:lstStyle>
            <a:lvl1pPr marL="0" indent="0" algn="ctr">
              <a:buNone/>
              <a:defRPr sz="1600">
                <a:latin typeface="+mj-lt"/>
              </a:defRPr>
            </a:lvl1pPr>
          </a:lstStyle>
          <a:p>
            <a:r>
              <a:rPr lang="en-US"/>
              <a:t>Image</a:t>
            </a:r>
          </a:p>
        </p:txBody>
      </p:sp>
    </p:spTree>
    <p:extLst>
      <p:ext uri="{BB962C8B-B14F-4D97-AF65-F5344CB8AC3E}">
        <p14:creationId xmlns:p14="http://schemas.microsoft.com/office/powerpoint/2010/main" val="23564598"/>
      </p:ext>
    </p:extLst>
  </p:cSld>
  <p:clrMapOvr>
    <a:masterClrMapping/>
  </p:clrMapOvr>
  <p:transition>
    <p:fade/>
  </p:transition>
  <p:extLst>
    <p:ext uri="{DCECCB84-F9BA-43D5-87BE-67443E8EF086}">
      <p15:sldGuideLst xmlns:p15="http://schemas.microsoft.com/office/powerpoint/2012/main">
        <p15:guide id="29" orient="horz" pos="1272">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641098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B53FBF24-EE52-9152-2D40-87550FF4CB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9893" cy="6858000"/>
          </a:xfrm>
          <a:prstGeom prst="rect">
            <a:avLst/>
          </a:prstGeom>
        </p:spPr>
      </p:pic>
      <p:pic>
        <p:nvPicPr>
          <p:cNvPr id="6" name="Picture 5" descr="A close up of a corner of a paper&#10;&#10;AI-generated content may be incorrect.">
            <a:extLst>
              <a:ext uri="{FF2B5EF4-FFF2-40B4-BE49-F238E27FC236}">
                <a16:creationId xmlns:a16="http://schemas.microsoft.com/office/drawing/2014/main" id="{58082223-228D-0D73-1BE9-2EF2BFACD893}"/>
              </a:ext>
            </a:extLst>
          </p:cNvPr>
          <p:cNvPicPr>
            <a:picLocks noChangeAspect="1"/>
          </p:cNvPicPr>
          <p:nvPr userDrawn="1"/>
        </p:nvPicPr>
        <p:blipFill>
          <a:blip r:embed="rId3">
            <a:alphaModFix amt="85000"/>
            <a:extLst>
              <a:ext uri="{BEBA8EAE-BF5A-486C-A8C5-ECC9F3942E4B}">
                <a14:imgProps xmlns:a14="http://schemas.microsoft.com/office/drawing/2010/main">
                  <a14:imgLayer r:embed="rId4">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835" t="-3489" r="308" b="3489"/>
          <a:stretch>
            <a:fillRect/>
          </a:stretch>
        </p:blipFill>
        <p:spPr>
          <a:xfrm rot="5400000" flipV="1">
            <a:off x="5793471" y="281511"/>
            <a:ext cx="6730538" cy="6125480"/>
          </a:xfrm>
          <a:prstGeom prst="rect">
            <a:avLst/>
          </a:prstGeom>
        </p:spPr>
      </p:pic>
      <p:pic>
        <p:nvPicPr>
          <p:cNvPr id="9" name="Graphic 8">
            <a:extLst>
              <a:ext uri="{FF2B5EF4-FFF2-40B4-BE49-F238E27FC236}">
                <a16:creationId xmlns:a16="http://schemas.microsoft.com/office/drawing/2014/main" id="{2D81F35F-51EF-1A05-D21F-30E9EB908F3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1040" y="713232"/>
            <a:ext cx="1337566" cy="705394"/>
          </a:xfrm>
          <a:prstGeom prst="rect">
            <a:avLst/>
          </a:prstGeom>
        </p:spPr>
      </p:pic>
      <p:pic>
        <p:nvPicPr>
          <p:cNvPr id="13" name="Picture 12">
            <a:extLst>
              <a:ext uri="{FF2B5EF4-FFF2-40B4-BE49-F238E27FC236}">
                <a16:creationId xmlns:a16="http://schemas.microsoft.com/office/drawing/2014/main" id="{5349DB46-2E1F-33DC-CBA7-D279F98549A8}"/>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B0CEF29F-AD69-0E43-342A-9B87F2F60C02}"/>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B3CE10E-3DEF-3797-28AD-A45FD0739AA4}"/>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718972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0"/>
            <a:ext cx="12379568" cy="4331731"/>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207695"/>
            <a:ext cx="4412673" cy="1354217"/>
          </a:xfrm>
          <a:noFill/>
        </p:spPr>
        <p:txBody>
          <a:bodyPr wrap="square" lIns="0" tIns="0" rIns="0" bIns="0" anchor="b" anchorCtr="0">
            <a:spAutoFit/>
          </a:bodyPr>
          <a:lstStyle>
            <a:lvl1pPr>
              <a:defRPr lang="en-US" sz="44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412673" cy="369332"/>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sz="2400"/>
              <a:t>Art of the Possible Kick-Off</a:t>
            </a:r>
            <a:endParaRPr lang="en-US"/>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016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0721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l="3907" t="2396" b="11468"/>
          <a:stretch>
            <a:fillRect/>
          </a:stretch>
        </p:blipFill>
        <p:spPr>
          <a:xfrm>
            <a:off x="-17894" y="0"/>
            <a:ext cx="12209894" cy="6868066"/>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3">
            <a:extLst>
              <a:ext uri="{28A0092B-C50C-407E-A947-70E740481C1C}">
                <a14:useLocalDpi xmlns:a14="http://schemas.microsoft.com/office/drawing/2010/main" val="0"/>
              </a:ext>
            </a:extLst>
          </a:blip>
          <a:srcRect r="33553" b="21301"/>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11581" b="22533"/>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6" name="Graphic 25">
            <a:extLst>
              <a:ext uri="{FF2B5EF4-FFF2-40B4-BE49-F238E27FC236}">
                <a16:creationId xmlns:a16="http://schemas.microsoft.com/office/drawing/2014/main" id="{D68EE504-0061-C86F-7C4A-E4787ED6DEB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1040" y="713232"/>
            <a:ext cx="1337566" cy="705394"/>
          </a:xfrm>
          <a:prstGeom prst="rect">
            <a:avLst/>
          </a:pr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F8EC1A4-C990-1806-D162-5E0CA8201959}"/>
              </a:ext>
            </a:extLst>
          </p:cNvPr>
          <p:cNvSpPr>
            <a:spLocks noGrp="1"/>
          </p:cNvSpPr>
          <p:nvPr>
            <p:ph type="title"/>
          </p:nvPr>
        </p:nvSpPr>
        <p:spPr>
          <a:xfrm>
            <a:off x="591451" y="2511166"/>
            <a:ext cx="5504550"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65ED941-89EA-A7B1-0F7E-AB2C3A360992}"/>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60506672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lide title 3">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03" t="8437" r="24933" b="17871"/>
          <a:stretch>
            <a:fillRect/>
          </a:stretch>
        </p:blipFill>
        <p:spPr>
          <a:xfrm>
            <a:off x="5488599" y="-1"/>
            <a:ext cx="6721295" cy="6704117"/>
          </a:xfrm>
          <a:prstGeom prst="rect">
            <a:avLst/>
          </a:prstGeom>
        </p:spPr>
      </p:pic>
      <p:pic>
        <p:nvPicPr>
          <p:cNvPr id="9" name="Graphic 8">
            <a:extLst>
              <a:ext uri="{FF2B5EF4-FFF2-40B4-BE49-F238E27FC236}">
                <a16:creationId xmlns:a16="http://schemas.microsoft.com/office/drawing/2014/main" id="{E56B8725-F274-0386-69F7-43D4973C88FB}"/>
              </a:ext>
            </a:extLst>
          </p:cNvPr>
          <p:cNvPicPr>
            <a:picLocks noChangeAspect="1"/>
          </p:cNvPicPr>
          <p:nvPr userDrawn="1"/>
        </p:nvPicPr>
        <p:blipFill>
          <a:blip r:embed="rId4">
            <a:extLst>
              <a:ext uri="{96DAC541-7B7A-43D3-8B79-37D633B846F1}">
                <asvg:svgBlip xmlns:asvg="http://schemas.microsoft.com/office/drawing/2016/SVG/main" r:embed="rId5"/>
              </a:ext>
            </a:extLst>
          </a:blip>
          <a:srcRect l="42711"/>
          <a:stretch>
            <a:fillRect/>
          </a:stretch>
        </p:blipFill>
        <p:spPr>
          <a:xfrm>
            <a:off x="553107" y="645732"/>
            <a:ext cx="1187697" cy="787800"/>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90DDCB4A-090E-DB77-E702-EFFDB3D32280}"/>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4" name="Text Placeholder 14">
            <a:extLst>
              <a:ext uri="{FF2B5EF4-FFF2-40B4-BE49-F238E27FC236}">
                <a16:creationId xmlns:a16="http://schemas.microsoft.com/office/drawing/2014/main" id="{88599F99-D574-5D55-8723-03233D2B17BF}"/>
              </a:ext>
            </a:extLst>
          </p:cNvPr>
          <p:cNvSpPr>
            <a:spLocks noGrp="1"/>
          </p:cNvSpPr>
          <p:nvPr>
            <p:ph type="body" sz="quarter" idx="10"/>
          </p:nvPr>
        </p:nvSpPr>
        <p:spPr>
          <a:xfrm>
            <a:off x="591451" y="4606146"/>
            <a:ext cx="5504550"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0456518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30488" b="42725"/>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t="14771" r="11937"/>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98301" r="96994"/>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1723" t="71799" r="100000" b="1699"/>
          <a:stretch>
            <a:fill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18" name="Graphic 17">
            <a:extLst>
              <a:ext uri="{FF2B5EF4-FFF2-40B4-BE49-F238E27FC236}">
                <a16:creationId xmlns:a16="http://schemas.microsoft.com/office/drawing/2014/main" id="{A34BDEDB-DBBC-A920-0DAA-C092A8054208}"/>
              </a:ext>
            </a:extLst>
          </p:cNvPr>
          <p:cNvPicPr>
            <a:picLocks noChangeAspect="1"/>
          </p:cNvPicPr>
          <p:nvPr userDrawn="1"/>
        </p:nvPicPr>
        <p:blipFill>
          <a:blip r:embed="rId7">
            <a:extLst>
              <a:ext uri="{96DAC541-7B7A-43D3-8B79-37D633B846F1}">
                <asvg:svgBlip xmlns:asvg="http://schemas.microsoft.com/office/drawing/2016/SVG/main" r:embed="rId8"/>
              </a:ext>
            </a:extLst>
          </a:blip>
          <a:srcRect l="42711"/>
          <a:stretch>
            <a:fillRect/>
          </a:stretch>
        </p:blipFill>
        <p:spPr>
          <a:xfrm>
            <a:off x="553107" y="645732"/>
            <a:ext cx="1187697" cy="787800"/>
          </a:xfrm>
          <a:prstGeom prst="rect">
            <a:avLst/>
          </a:pr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9"/>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3C2A488F-B855-8BA1-7EAB-FAFD6264E835}"/>
              </a:ext>
            </a:extLst>
          </p:cNvPr>
          <p:cNvSpPr>
            <a:spLocks noGrp="1"/>
          </p:cNvSpPr>
          <p:nvPr>
            <p:ph type="title"/>
          </p:nvPr>
        </p:nvSpPr>
        <p:spPr>
          <a:xfrm>
            <a:off x="591450" y="2511166"/>
            <a:ext cx="5973473" cy="1588127"/>
          </a:xfrm>
          <a:prstGeom prst="rect">
            <a:avLst/>
          </a:prstGeom>
          <a:noFill/>
          <a:ln>
            <a:noFill/>
            <a:prstDash/>
          </a:ln>
          <a:effectLst/>
        </p:spPr>
        <p:txBody>
          <a:bodyPr wrap="square" lIns="0" rIns="0">
            <a:spAutoFit/>
          </a:bodyPr>
          <a:lstStyle>
            <a:lvl1pPr>
              <a:defRPr kumimoji="0" lang="en-US" sz="54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
        <p:nvSpPr>
          <p:cNvPr id="5" name="Text Placeholder 14">
            <a:extLst>
              <a:ext uri="{FF2B5EF4-FFF2-40B4-BE49-F238E27FC236}">
                <a16:creationId xmlns:a16="http://schemas.microsoft.com/office/drawing/2014/main" id="{8DC3852C-4431-C777-7E3A-08951A007D72}"/>
              </a:ext>
            </a:extLst>
          </p:cNvPr>
          <p:cNvSpPr>
            <a:spLocks noGrp="1"/>
          </p:cNvSpPr>
          <p:nvPr>
            <p:ph type="body" sz="quarter" idx="10"/>
          </p:nvPr>
        </p:nvSpPr>
        <p:spPr>
          <a:xfrm>
            <a:off x="591450" y="4606146"/>
            <a:ext cx="6805629" cy="587375"/>
          </a:xfrm>
          <a:prstGeom prst="rect">
            <a:avLst/>
          </a:prstGeom>
        </p:spPr>
        <p:txBody>
          <a:bodyPr lIns="0" rIns="0"/>
          <a:lstStyle>
            <a:lvl1pPr>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5286726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841804CA-5B33-245C-AE53-73C33CB23EE3}"/>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285526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7FE96B6A-22DF-4905-8725-EB791B1D476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503086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2" name="Picture 1" descr="A close up of a corner of a paper&#10;&#10;AI-generated content may be incorrect.">
            <a:extLst>
              <a:ext uri="{FF2B5EF4-FFF2-40B4-BE49-F238E27FC236}">
                <a16:creationId xmlns:a16="http://schemas.microsoft.com/office/drawing/2014/main" id="{9D1D243A-BEC8-31C0-957B-7041D1ECEAB7}"/>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39669" t="-3489" r="308" b="5012"/>
          <a:stretch>
            <a:fillRect/>
          </a:stretch>
        </p:blipFill>
        <p:spPr>
          <a:xfrm rot="10800000" flipH="1" flipV="1">
            <a:off x="5931363" y="3132150"/>
            <a:ext cx="6260637" cy="3725849"/>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0" name="Title Placeholder 1">
            <a:extLst>
              <a:ext uri="{FF2B5EF4-FFF2-40B4-BE49-F238E27FC236}">
                <a16:creationId xmlns:a16="http://schemas.microsoft.com/office/drawing/2014/main" id="{A88E3D19-2226-DDC2-A8D5-813993AE86C9}"/>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87599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pic>
        <p:nvPicPr>
          <p:cNvPr id="10" name="Picture 9" descr="A blue and orange sky&#10;&#10;AI-generated content may be incorrect.">
            <a:extLst>
              <a:ext uri="{FF2B5EF4-FFF2-40B4-BE49-F238E27FC236}">
                <a16:creationId xmlns:a16="http://schemas.microsoft.com/office/drawing/2014/main" id="{36BB8605-FEC0-0FC5-C8C9-E5B7F1CE4303}"/>
              </a:ext>
            </a:extLst>
          </p:cNvPr>
          <p:cNvPicPr>
            <a:picLocks noChangeAspect="1"/>
          </p:cNvPicPr>
          <p:nvPr userDrawn="1"/>
        </p:nvPicPr>
        <p:blipFill>
          <a:blip r:embed="rId2">
            <a:extLst>
              <a:ext uri="{28A0092B-C50C-407E-A947-70E740481C1C}">
                <a14:useLocalDpi xmlns:a14="http://schemas.microsoft.com/office/drawing/2010/main" val="0"/>
              </a:ext>
            </a:extLst>
          </a:blip>
          <a:srcRect l="3907" t="2396" b="11468"/>
          <a:stretch>
            <a:fillRect/>
          </a:stretch>
        </p:blipFill>
        <p:spPr>
          <a:xfrm>
            <a:off x="-17894" y="0"/>
            <a:ext cx="12209894" cy="6868066"/>
          </a:xfrm>
          <a:prstGeom prst="rect">
            <a:avLst/>
          </a:prstGeom>
        </p:spPr>
      </p:pic>
      <p:pic>
        <p:nvPicPr>
          <p:cNvPr id="11" name="Picture 10" descr="A blue and orange background&#10;&#10;AI-generated content may be incorrect.">
            <a:extLst>
              <a:ext uri="{FF2B5EF4-FFF2-40B4-BE49-F238E27FC236}">
                <a16:creationId xmlns:a16="http://schemas.microsoft.com/office/drawing/2014/main" id="{051DD8BC-6E15-4478-EACE-6ADFF16CF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pic>
        <p:nvPicPr>
          <p:cNvPr id="12" name="Picture 11" descr="A blue circle with black background&#10;&#10;AI-generated content may be incorrect.">
            <a:extLst>
              <a:ext uri="{FF2B5EF4-FFF2-40B4-BE49-F238E27FC236}">
                <a16:creationId xmlns:a16="http://schemas.microsoft.com/office/drawing/2014/main" id="{A73E0640-5519-86A0-6849-E968EE5EEAB7}"/>
              </a:ext>
            </a:extLst>
          </p:cNvPr>
          <p:cNvPicPr>
            <a:picLocks noChangeAspect="1"/>
          </p:cNvPicPr>
          <p:nvPr userDrawn="1"/>
        </p:nvPicPr>
        <p:blipFill>
          <a:blip r:embed="rId4">
            <a:extLst>
              <a:ext uri="{28A0092B-C50C-407E-A947-70E740481C1C}">
                <a14:useLocalDpi xmlns:a14="http://schemas.microsoft.com/office/drawing/2010/main" val="0"/>
              </a:ext>
            </a:extLst>
          </a:blip>
          <a:srcRect r="33553" b="21301"/>
          <a:stretch>
            <a:fillRect/>
          </a:stretch>
        </p:blipFill>
        <p:spPr>
          <a:xfrm>
            <a:off x="7446404" y="1244481"/>
            <a:ext cx="4763490" cy="5641901"/>
          </a:xfrm>
          <a:prstGeom prst="rect">
            <a:avLst/>
          </a:prstGeom>
        </p:spPr>
      </p:pic>
      <p:pic>
        <p:nvPicPr>
          <p:cNvPr id="18" name="Picture 17" descr="A colorful curved object on a black background&#10;&#10;AI-generated content may be incorrect.">
            <a:extLst>
              <a:ext uri="{FF2B5EF4-FFF2-40B4-BE49-F238E27FC236}">
                <a16:creationId xmlns:a16="http://schemas.microsoft.com/office/drawing/2014/main" id="{79275648-820F-4B65-2BC8-22FEB5FF5670}"/>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l="11581" b="22533"/>
          <a:stretch>
            <a:fillRect/>
          </a:stretch>
        </p:blipFill>
        <p:spPr>
          <a:xfrm rot="14957738">
            <a:off x="5617646" y="-195983"/>
            <a:ext cx="8020528" cy="7178311"/>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28" name="Picture 27">
            <a:extLst>
              <a:ext uri="{FF2B5EF4-FFF2-40B4-BE49-F238E27FC236}">
                <a16:creationId xmlns:a16="http://schemas.microsoft.com/office/drawing/2014/main" id="{F6DC3C18-D5A2-1F6F-0177-1B1AE311CAC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2" name="Title Placeholder 1">
            <a:extLst>
              <a:ext uri="{FF2B5EF4-FFF2-40B4-BE49-F238E27FC236}">
                <a16:creationId xmlns:a16="http://schemas.microsoft.com/office/drawing/2014/main" id="{0F261CA3-A777-DE33-D141-CA5CC5633FDA}"/>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21260804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pic>
        <p:nvPicPr>
          <p:cNvPr id="3" name="Picture 2" descr="A blue and orange background&#10;&#10;AI-generated content may be incorrect.">
            <a:extLst>
              <a:ext uri="{FF2B5EF4-FFF2-40B4-BE49-F238E27FC236}">
                <a16:creationId xmlns:a16="http://schemas.microsoft.com/office/drawing/2014/main" id="{24E3C02A-A35C-AD37-5455-3DCD407E97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1"/>
            <a:ext cx="12192000" cy="6858001"/>
          </a:xfrm>
          <a:prstGeom prst="rect">
            <a:avLst/>
          </a:prstGeom>
        </p:spPr>
      </p:pic>
      <p:pic>
        <p:nvPicPr>
          <p:cNvPr id="8" name="Picture 7" descr="A colorful spiral of paper&#10;&#10;AI-generated content may be incorrect.">
            <a:extLst>
              <a:ext uri="{FF2B5EF4-FFF2-40B4-BE49-F238E27FC236}">
                <a16:creationId xmlns:a16="http://schemas.microsoft.com/office/drawing/2014/main" id="{B5E2AA70-0E7D-8859-661D-CF5E7FD9F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403" t="8437" r="24933" b="17871"/>
          <a:stretch>
            <a:fillRect/>
          </a:stretch>
        </p:blipFill>
        <p:spPr>
          <a:xfrm>
            <a:off x="5488599" y="-1"/>
            <a:ext cx="6721295" cy="6704117"/>
          </a:xfrm>
          <a:prstGeom prst="rect">
            <a:avLst/>
          </a:prstGeom>
        </p:spPr>
      </p:pic>
      <p:pic>
        <p:nvPicPr>
          <p:cNvPr id="17" name="Picture 16">
            <a:extLst>
              <a:ext uri="{FF2B5EF4-FFF2-40B4-BE49-F238E27FC236}">
                <a16:creationId xmlns:a16="http://schemas.microsoft.com/office/drawing/2014/main" id="{8884D87A-9369-40DC-5CEA-822F1C220208}"/>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4" name="Title Placeholder 1">
            <a:extLst>
              <a:ext uri="{FF2B5EF4-FFF2-40B4-BE49-F238E27FC236}">
                <a16:creationId xmlns:a16="http://schemas.microsoft.com/office/drawing/2014/main" id="{B8291BFD-F619-0250-71BD-ED5F5475E9F4}"/>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357831907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32A62DAB-36D9-50B3-CA29-6779D875C0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5202"/>
          </a:xfrm>
          <a:prstGeom prst="rect">
            <a:avLst/>
          </a:prstGeom>
        </p:spPr>
      </p:pic>
      <p:pic>
        <p:nvPicPr>
          <p:cNvPr id="4" name="Picture 3" descr="A blue circle with black background&#10;&#10;AI-generated content may be incorrect.">
            <a:extLst>
              <a:ext uri="{FF2B5EF4-FFF2-40B4-BE49-F238E27FC236}">
                <a16:creationId xmlns:a16="http://schemas.microsoft.com/office/drawing/2014/main" id="{44A82DC8-455C-0F2C-1032-B058C57EC06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r="30488" b="42725"/>
          <a:stretch>
            <a:fillRect/>
          </a:stretch>
        </p:blipFill>
        <p:spPr>
          <a:xfrm>
            <a:off x="6281018" y="-151084"/>
            <a:ext cx="5910982" cy="6855201"/>
          </a:xfrm>
          <a:prstGeom prst="rect">
            <a:avLst/>
          </a:prstGeom>
        </p:spPr>
      </p:pic>
      <p:pic>
        <p:nvPicPr>
          <p:cNvPr id="9" name="Picture 8" descr="A colorful curved object on a black background&#10;&#10;AI-generated content may be incorrect.">
            <a:extLst>
              <a:ext uri="{FF2B5EF4-FFF2-40B4-BE49-F238E27FC236}">
                <a16:creationId xmlns:a16="http://schemas.microsoft.com/office/drawing/2014/main" id="{4C624749-40EB-A7DA-DF96-C094DB00C1C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t="14771" r="11937"/>
          <a:stretch>
            <a:fillRect/>
          </a:stretch>
        </p:blipFill>
        <p:spPr>
          <a:xfrm rot="7200000" flipH="1">
            <a:off x="4046280" y="-1221645"/>
            <a:ext cx="9393608" cy="9286969"/>
          </a:xfrm>
          <a:custGeom>
            <a:avLst/>
            <a:gdLst>
              <a:gd name="connsiteX0" fmla="*/ 5967086 w 9393608"/>
              <a:gd name="connsiteY0" fmla="*/ 9286969 h 9286969"/>
              <a:gd name="connsiteX1" fmla="*/ 9393608 w 9393608"/>
              <a:gd name="connsiteY1" fmla="*/ 3352059 h 9286969"/>
              <a:gd name="connsiteX2" fmla="*/ 3587672 w 9393608"/>
              <a:gd name="connsiteY2" fmla="*/ 0 h 9286969"/>
              <a:gd name="connsiteX3" fmla="*/ 0 w 9393608"/>
              <a:gd name="connsiteY3" fmla="*/ 6214032 h 9286969"/>
              <a:gd name="connsiteX4" fmla="*/ 0 w 9393608"/>
              <a:gd name="connsiteY4" fmla="*/ 9101821 h 9286969"/>
              <a:gd name="connsiteX5" fmla="*/ 320686 w 9393608"/>
              <a:gd name="connsiteY5" fmla="*/ 9286969 h 9286969"/>
              <a:gd name="connsiteX6" fmla="*/ 5967086 w 9393608"/>
              <a:gd name="connsiteY6" fmla="*/ 9286969 h 928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608" h="9286969">
                <a:moveTo>
                  <a:pt x="5967086" y="9286969"/>
                </a:moveTo>
                <a:lnTo>
                  <a:pt x="9393608" y="3352059"/>
                </a:lnTo>
                <a:lnTo>
                  <a:pt x="3587672" y="0"/>
                </a:lnTo>
                <a:lnTo>
                  <a:pt x="0" y="6214032"/>
                </a:lnTo>
                <a:lnTo>
                  <a:pt x="0" y="9101821"/>
                </a:lnTo>
                <a:lnTo>
                  <a:pt x="320686" y="9286969"/>
                </a:lnTo>
                <a:lnTo>
                  <a:pt x="5967086" y="9286969"/>
                </a:lnTo>
                <a:close/>
              </a:path>
            </a:pathLst>
          </a:custGeom>
        </p:spPr>
      </p:pic>
      <p:pic>
        <p:nvPicPr>
          <p:cNvPr id="11" name="Picture 10" descr="A colorful curved object on a black background&#10;&#10;AI-generated content may be incorrect.">
            <a:extLst>
              <a:ext uri="{FF2B5EF4-FFF2-40B4-BE49-F238E27FC236}">
                <a16:creationId xmlns:a16="http://schemas.microsoft.com/office/drawing/2014/main" id="{389E9885-11D0-D164-763E-AA86CF2FB73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98301" r="96994"/>
          <a:stretch>
            <a:fillRect/>
          </a:stretch>
        </p:blipFill>
        <p:spPr>
          <a:xfrm rot="7200000" flipH="1">
            <a:off x="2373306" y="4982500"/>
            <a:ext cx="320686" cy="185148"/>
          </a:xfrm>
          <a:custGeom>
            <a:avLst/>
            <a:gdLst>
              <a:gd name="connsiteX0" fmla="*/ 320686 w 320686"/>
              <a:gd name="connsiteY0" fmla="*/ 185148 h 185148"/>
              <a:gd name="connsiteX1" fmla="*/ 0 w 320686"/>
              <a:gd name="connsiteY1" fmla="*/ 0 h 185148"/>
              <a:gd name="connsiteX2" fmla="*/ 0 w 320686"/>
              <a:gd name="connsiteY2" fmla="*/ 185148 h 185148"/>
              <a:gd name="connsiteX3" fmla="*/ 320686 w 320686"/>
              <a:gd name="connsiteY3" fmla="*/ 185148 h 185148"/>
            </a:gdLst>
            <a:ahLst/>
            <a:cxnLst>
              <a:cxn ang="0">
                <a:pos x="connsiteX0" y="connsiteY0"/>
              </a:cxn>
              <a:cxn ang="0">
                <a:pos x="connsiteX1" y="connsiteY1"/>
              </a:cxn>
              <a:cxn ang="0">
                <a:pos x="connsiteX2" y="connsiteY2"/>
              </a:cxn>
              <a:cxn ang="0">
                <a:pos x="connsiteX3" y="connsiteY3"/>
              </a:cxn>
            </a:cxnLst>
            <a:rect l="l" t="t" r="r" b="b"/>
            <a:pathLst>
              <a:path w="320686" h="185148">
                <a:moveTo>
                  <a:pt x="320686" y="185148"/>
                </a:moveTo>
                <a:lnTo>
                  <a:pt x="0" y="0"/>
                </a:lnTo>
                <a:lnTo>
                  <a:pt x="0" y="185148"/>
                </a:lnTo>
                <a:lnTo>
                  <a:pt x="320686" y="185148"/>
                </a:lnTo>
                <a:close/>
              </a:path>
            </a:pathLst>
          </a:custGeom>
        </p:spPr>
      </p:pic>
      <p:pic>
        <p:nvPicPr>
          <p:cNvPr id="12" name="Picture 11" descr="A colorful curved object on a black background&#10;&#10;AI-generated content may be incorrect.">
            <a:extLst>
              <a:ext uri="{FF2B5EF4-FFF2-40B4-BE49-F238E27FC236}">
                <a16:creationId xmlns:a16="http://schemas.microsoft.com/office/drawing/2014/main" id="{0EE75A0C-1662-63EB-2967-E5DC23F78E4F}"/>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1723" t="71799" r="100000" b="1699"/>
          <a:stretch>
            <a:fillRect/>
          </a:stretch>
        </p:blipFill>
        <p:spPr>
          <a:xfrm rot="7200000" flipH="1">
            <a:off x="2846261" y="5079736"/>
            <a:ext cx="1250450" cy="2887789"/>
          </a:xfrm>
          <a:custGeom>
            <a:avLst/>
            <a:gdLst>
              <a:gd name="connsiteX0" fmla="*/ 1250450 w 1250450"/>
              <a:gd name="connsiteY0" fmla="*/ 2887789 h 2887789"/>
              <a:gd name="connsiteX1" fmla="*/ 1250450 w 1250450"/>
              <a:gd name="connsiteY1" fmla="*/ 0 h 2887789"/>
              <a:gd name="connsiteX2" fmla="*/ 0 w 1250450"/>
              <a:gd name="connsiteY2" fmla="*/ 2165842 h 2887789"/>
              <a:gd name="connsiteX3" fmla="*/ 1250450 w 1250450"/>
              <a:gd name="connsiteY3" fmla="*/ 2887789 h 2887789"/>
            </a:gdLst>
            <a:ahLst/>
            <a:cxnLst>
              <a:cxn ang="0">
                <a:pos x="connsiteX0" y="connsiteY0"/>
              </a:cxn>
              <a:cxn ang="0">
                <a:pos x="connsiteX1" y="connsiteY1"/>
              </a:cxn>
              <a:cxn ang="0">
                <a:pos x="connsiteX2" y="connsiteY2"/>
              </a:cxn>
              <a:cxn ang="0">
                <a:pos x="connsiteX3" y="connsiteY3"/>
              </a:cxn>
            </a:cxnLst>
            <a:rect l="l" t="t" r="r" b="b"/>
            <a:pathLst>
              <a:path w="1250450" h="2887789">
                <a:moveTo>
                  <a:pt x="1250450" y="2887789"/>
                </a:moveTo>
                <a:lnTo>
                  <a:pt x="1250450" y="0"/>
                </a:lnTo>
                <a:lnTo>
                  <a:pt x="0" y="2165842"/>
                </a:lnTo>
                <a:lnTo>
                  <a:pt x="1250450" y="2887789"/>
                </a:lnTo>
                <a:close/>
              </a:path>
            </a:pathLst>
          </a:custGeom>
        </p:spPr>
      </p:pic>
      <p:pic>
        <p:nvPicPr>
          <p:cNvPr id="20" name="Picture 19">
            <a:extLst>
              <a:ext uri="{FF2B5EF4-FFF2-40B4-BE49-F238E27FC236}">
                <a16:creationId xmlns:a16="http://schemas.microsoft.com/office/drawing/2014/main" id="{E4E9EB89-3423-77CD-AABD-EC6467D0497D}"/>
              </a:ext>
              <a:ext uri="{C183D7F6-B498-43B3-948B-1728B52AA6E4}">
                <adec:decorative xmlns:adec="http://schemas.microsoft.com/office/drawing/2017/decorative" val="1"/>
              </a:ext>
            </a:extLst>
          </p:cNvPr>
          <p:cNvPicPr>
            <a:picLocks noChangeAspect="1"/>
          </p:cNvPicPr>
          <p:nvPr userDrawn="1"/>
        </p:nvPicPr>
        <p:blipFill rotWithShape="1">
          <a:blip r:embed="rId7"/>
          <a:srcRect l="370" t="1" r="531" b="29523"/>
          <a:stretch>
            <a:fillRect/>
          </a:stretch>
        </p:blipFill>
        <p:spPr>
          <a:xfrm rot="10800000" flipV="1">
            <a:off x="-9333" y="6675119"/>
            <a:ext cx="12201331" cy="182880"/>
          </a:xfrm>
          <a:prstGeom prst="rect">
            <a:avLst/>
          </a:prstGeom>
          <a:ln>
            <a:noFill/>
          </a:ln>
          <a:effectLst/>
        </p:spPr>
      </p:pic>
      <p:sp>
        <p:nvSpPr>
          <p:cNvPr id="5" name="Title Placeholder 1">
            <a:extLst>
              <a:ext uri="{FF2B5EF4-FFF2-40B4-BE49-F238E27FC236}">
                <a16:creationId xmlns:a16="http://schemas.microsoft.com/office/drawing/2014/main" id="{ABB3877C-3695-9A63-E3CF-23A2DD86137C}"/>
              </a:ext>
            </a:extLst>
          </p:cNvPr>
          <p:cNvSpPr>
            <a:spLocks noGrp="1"/>
          </p:cNvSpPr>
          <p:nvPr>
            <p:ph type="title"/>
          </p:nvPr>
        </p:nvSpPr>
        <p:spPr>
          <a:xfrm>
            <a:off x="571500" y="2792795"/>
            <a:ext cx="4179404" cy="1089529"/>
          </a:xfrm>
          <a:prstGeom prst="rect">
            <a:avLst/>
          </a:prstGeom>
          <a:noFill/>
          <a:ln>
            <a:noFill/>
            <a:prstDash/>
          </a:ln>
          <a:effectLst/>
        </p:spPr>
        <p:txBody>
          <a:bodyPr wrap="square" lIns="0" rIns="0">
            <a:spAutoFit/>
          </a:bodyPr>
          <a:lstStyle>
            <a:lvl1pPr>
              <a:defRPr kumimoji="0" lang="en-US" sz="3600" i="0" u="none" strike="noStrike" spc="0" normalizeH="0" baseline="0" dirty="0">
                <a:ln>
                  <a:noFill/>
                </a:ln>
                <a:gradFill flip="none" rotWithShape="1">
                  <a:gsLst>
                    <a:gs pos="0">
                      <a:srgbClr val="94D8FE"/>
                    </a:gs>
                    <a:gs pos="100000">
                      <a:prstClr val="white"/>
                    </a:gs>
                  </a:gsLst>
                  <a:lin ang="16200000" scaled="1"/>
                  <a:tileRect/>
                </a:gradFill>
                <a:uLnTx/>
                <a:uFillTx/>
              </a:defRPr>
            </a:lvl1pPr>
          </a:lstStyle>
          <a:p>
            <a:pPr marL="0" marR="0" lvl="0" indent="0" defTabSz="457200" fontAlgn="auto">
              <a:lnSpc>
                <a:spcPct val="90000"/>
              </a:lnSpc>
              <a:spcBef>
                <a:spcPts val="0"/>
              </a:spcBef>
              <a:spcAft>
                <a:spcPts val="0"/>
              </a:spcAft>
              <a:buClrTx/>
              <a:buSzTx/>
              <a:buFontTx/>
              <a:tabLst/>
            </a:pPr>
            <a:r>
              <a:rPr lang="en-US"/>
              <a:t>Click to edit Master title style</a:t>
            </a:r>
          </a:p>
        </p:txBody>
      </p:sp>
    </p:spTree>
    <p:extLst>
      <p:ext uri="{BB962C8B-B14F-4D97-AF65-F5344CB8AC3E}">
        <p14:creationId xmlns:p14="http://schemas.microsoft.com/office/powerpoint/2010/main" val="22417104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4" name="Picture 3" descr="A close up of a corner of a paper&#10;&#10;AI-generated content may be incorrect.">
            <a:extLst>
              <a:ext uri="{FF2B5EF4-FFF2-40B4-BE49-F238E27FC236}">
                <a16:creationId xmlns:a16="http://schemas.microsoft.com/office/drawing/2014/main" id="{738AF8BF-88B4-941B-796C-002169F5D81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40746" t="4251" r="284" b="4637"/>
          <a:stretch>
            <a:fillRect/>
          </a:stretch>
        </p:blipFill>
        <p:spPr>
          <a:xfrm rot="10800000" flipH="1" flipV="1">
            <a:off x="-4" y="4289179"/>
            <a:ext cx="4267201" cy="2391535"/>
          </a:xfrm>
          <a:prstGeom prst="rect">
            <a:avLst/>
          </a:pr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hasCustomPrompt="1"/>
          </p:nvPr>
        </p:nvSpPr>
        <p:spPr>
          <a:xfrm>
            <a:off x="5178287"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
        <p:nvSpPr>
          <p:cNvPr id="5" name="Text Placeholder 3">
            <a:extLst>
              <a:ext uri="{FF2B5EF4-FFF2-40B4-BE49-F238E27FC236}">
                <a16:creationId xmlns:a16="http://schemas.microsoft.com/office/drawing/2014/main" id="{481F9AB0-2AFF-1686-C6D2-FA4E95E9CF7A}"/>
              </a:ext>
            </a:extLst>
          </p:cNvPr>
          <p:cNvSpPr>
            <a:spLocks noGrp="1"/>
          </p:cNvSpPr>
          <p:nvPr>
            <p:ph idx="10" hasCustomPrompt="1"/>
          </p:nvPr>
        </p:nvSpPr>
        <p:spPr>
          <a:xfrm>
            <a:off x="8873985" y="605657"/>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0" name="Text Placeholder 3">
            <a:extLst>
              <a:ext uri="{FF2B5EF4-FFF2-40B4-BE49-F238E27FC236}">
                <a16:creationId xmlns:a16="http://schemas.microsoft.com/office/drawing/2014/main" id="{E521278D-83E6-60F0-DE85-9BBB167AD000}"/>
              </a:ext>
            </a:extLst>
          </p:cNvPr>
          <p:cNvSpPr>
            <a:spLocks noGrp="1"/>
          </p:cNvSpPr>
          <p:nvPr>
            <p:ph idx="11" hasCustomPrompt="1"/>
          </p:nvPr>
        </p:nvSpPr>
        <p:spPr>
          <a:xfrm>
            <a:off x="5178287"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1" name="Text Placeholder 3">
            <a:extLst>
              <a:ext uri="{FF2B5EF4-FFF2-40B4-BE49-F238E27FC236}">
                <a16:creationId xmlns:a16="http://schemas.microsoft.com/office/drawing/2014/main" id="{A21CEE09-B3B0-47A7-6B86-65FF85C6967C}"/>
              </a:ext>
            </a:extLst>
          </p:cNvPr>
          <p:cNvSpPr>
            <a:spLocks noGrp="1"/>
          </p:cNvSpPr>
          <p:nvPr>
            <p:ph idx="12" hasCustomPrompt="1"/>
          </p:nvPr>
        </p:nvSpPr>
        <p:spPr>
          <a:xfrm>
            <a:off x="8873985" y="2607985"/>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4" name="Text Placeholder 3">
            <a:extLst>
              <a:ext uri="{FF2B5EF4-FFF2-40B4-BE49-F238E27FC236}">
                <a16:creationId xmlns:a16="http://schemas.microsoft.com/office/drawing/2014/main" id="{45337E61-848B-2D2F-C9C0-746F07AA0467}"/>
              </a:ext>
            </a:extLst>
          </p:cNvPr>
          <p:cNvSpPr>
            <a:spLocks noGrp="1"/>
          </p:cNvSpPr>
          <p:nvPr>
            <p:ph idx="13" hasCustomPrompt="1"/>
          </p:nvPr>
        </p:nvSpPr>
        <p:spPr>
          <a:xfrm>
            <a:off x="5178287"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
        <p:nvSpPr>
          <p:cNvPr id="15" name="Text Placeholder 3">
            <a:extLst>
              <a:ext uri="{FF2B5EF4-FFF2-40B4-BE49-F238E27FC236}">
                <a16:creationId xmlns:a16="http://schemas.microsoft.com/office/drawing/2014/main" id="{C23AA298-3C87-59E0-54D9-D70EB4EF262F}"/>
              </a:ext>
            </a:extLst>
          </p:cNvPr>
          <p:cNvSpPr>
            <a:spLocks noGrp="1"/>
          </p:cNvSpPr>
          <p:nvPr>
            <p:ph idx="14" hasCustomPrompt="1"/>
          </p:nvPr>
        </p:nvSpPr>
        <p:spPr>
          <a:xfrm>
            <a:off x="8873985" y="4610313"/>
            <a:ext cx="2746515" cy="689420"/>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text</a:t>
            </a:r>
          </a:p>
          <a:p>
            <a:pPr lvl="1"/>
            <a:r>
              <a:rPr lang="en-US"/>
              <a:t>Second level</a:t>
            </a:r>
          </a:p>
        </p:txBody>
      </p:sp>
    </p:spTree>
    <p:extLst>
      <p:ext uri="{BB962C8B-B14F-4D97-AF65-F5344CB8AC3E}">
        <p14:creationId xmlns:p14="http://schemas.microsoft.com/office/powerpoint/2010/main" val="35026966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0732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7" name="Picture 6" descr="A colorful curved object on a black background&#10;&#10;AI-generated content may be incorrect.">
            <a:extLst>
              <a:ext uri="{FF2B5EF4-FFF2-40B4-BE49-F238E27FC236}">
                <a16:creationId xmlns:a16="http://schemas.microsoft.com/office/drawing/2014/main" id="{0B19AD7D-AD70-629E-3C43-4550DB340BB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38580" t="9128" r="-26999" b="13405"/>
          <a:stretch>
            <a:fillRect/>
          </a:stretch>
        </p:blipFill>
        <p:spPr>
          <a:xfrm rot="14957738">
            <a:off x="-1612069" y="511985"/>
            <a:ext cx="7143866" cy="6393705"/>
          </a:xfrm>
          <a:custGeom>
            <a:avLst/>
            <a:gdLst>
              <a:gd name="connsiteX0" fmla="*/ 8020528 w 8020528"/>
              <a:gd name="connsiteY0" fmla="*/ 2504441 h 7178311"/>
              <a:gd name="connsiteX1" fmla="*/ 6254012 w 8020528"/>
              <a:gd name="connsiteY1" fmla="*/ 7178311 h 7178311"/>
              <a:gd name="connsiteX2" fmla="*/ 0 w 8020528"/>
              <a:gd name="connsiteY2" fmla="*/ 4814572 h 7178311"/>
              <a:gd name="connsiteX3" fmla="*/ 1819695 w 8020528"/>
              <a:gd name="connsiteY3" fmla="*/ 0 h 7178311"/>
              <a:gd name="connsiteX4" fmla="*/ 8020528 w 8020528"/>
              <a:gd name="connsiteY4" fmla="*/ 0 h 717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0528" h="7178311">
                <a:moveTo>
                  <a:pt x="8020528" y="2504441"/>
                </a:moveTo>
                <a:lnTo>
                  <a:pt x="6254012" y="7178311"/>
                </a:lnTo>
                <a:lnTo>
                  <a:pt x="0" y="4814572"/>
                </a:lnTo>
                <a:lnTo>
                  <a:pt x="1819695" y="0"/>
                </a:lnTo>
                <a:lnTo>
                  <a:pt x="8020528" y="0"/>
                </a:lnTo>
                <a:close/>
              </a:path>
            </a:pathLst>
          </a:custGeom>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8" name="Text Placeholder 3">
            <a:extLst>
              <a:ext uri="{FF2B5EF4-FFF2-40B4-BE49-F238E27FC236}">
                <a16:creationId xmlns:a16="http://schemas.microsoft.com/office/drawing/2014/main" id="{1237AE35-A655-4E3E-2695-F11A2D8F4871}"/>
              </a:ext>
            </a:extLst>
          </p:cNvPr>
          <p:cNvSpPr>
            <a:spLocks noGrp="1"/>
          </p:cNvSpPr>
          <p:nvPr>
            <p:ph idx="1"/>
          </p:nvPr>
        </p:nvSpPr>
        <p:spPr>
          <a:xfrm>
            <a:off x="6091332" y="1441655"/>
            <a:ext cx="5511388" cy="2499146"/>
          </a:xfrm>
          <a:prstGeom prst="rect">
            <a:avLst/>
          </a:prstGeom>
        </p:spPr>
        <p:txBody>
          <a:bodyPr vert="horz" wrap="square" lIns="0" tIns="0" rIns="0" bIns="0" rtlCol="0">
            <a:spAutoFit/>
          </a:bodyPr>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EDA46B1-A4F7-91DB-14EA-5ACDCE48E9BA}"/>
              </a:ext>
            </a:extLst>
          </p:cNvPr>
          <p:cNvSpPr>
            <a:spLocks noGrp="1"/>
          </p:cNvSpPr>
          <p:nvPr>
            <p:ph type="title" hasCustomPrompt="1"/>
          </p:nvPr>
        </p:nvSpPr>
        <p:spPr>
          <a:xfrm>
            <a:off x="589280" y="605657"/>
            <a:ext cx="2373598" cy="1939850"/>
          </a:xfrm>
          <a:prstGeom prst="rect">
            <a:avLst/>
          </a:prstGeom>
        </p:spPr>
        <p:txBody>
          <a:bodyPr lIns="0" rIns="0"/>
          <a:lstStyle>
            <a:lvl1pPr>
              <a:defRPr sz="4800" spc="0" baseline="0"/>
            </a:lvl1pPr>
          </a:lstStyle>
          <a:p>
            <a:r>
              <a:rPr lang="en-US"/>
              <a:t>Agenda</a:t>
            </a:r>
          </a:p>
        </p:txBody>
      </p:sp>
    </p:spTree>
    <p:extLst>
      <p:ext uri="{BB962C8B-B14F-4D97-AF65-F5344CB8AC3E}">
        <p14:creationId xmlns:p14="http://schemas.microsoft.com/office/powerpoint/2010/main" val="199968905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D7A402-6B36-6950-F0AA-5F1C9CDA40D8}"/>
              </a:ext>
            </a:extLst>
          </p:cNvPr>
          <p:cNvSpPr/>
          <p:nvPr userDrawn="1"/>
        </p:nvSpPr>
        <p:spPr bwMode="auto">
          <a:xfrm>
            <a:off x="3048" y="-1"/>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DB3D29C1-2941-0540-2AF8-7ECE6E8D048A}"/>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28860" t="-246" r="1843" b="356"/>
          <a:stretch>
            <a:fillRect/>
          </a:stretch>
        </p:blipFill>
        <p:spPr>
          <a:xfrm rot="10800000" flipH="1" flipV="1">
            <a:off x="0" y="4492"/>
            <a:ext cx="4267200"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178287" y="605657"/>
            <a:ext cx="6442213" cy="1465016"/>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605657"/>
            <a:ext cx="2482166"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68079357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ackground 1">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888529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ackground 2">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81C1390B-DA6C-0C43-6516-B4F79B35830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1"/>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2D2FB8B6-DDDF-697C-B70D-3ADE6D7DB1E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81742141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ackground 3">
    <p:spTree>
      <p:nvGrpSpPr>
        <p:cNvPr id="1" name=""/>
        <p:cNvGrpSpPr/>
        <p:nvPr/>
      </p:nvGrpSpPr>
      <p:grpSpPr>
        <a:xfrm>
          <a:off x="0" y="0"/>
          <a:ext cx="0" cy="0"/>
          <a:chOff x="0" y="0"/>
          <a:chExt cx="0" cy="0"/>
        </a:xfrm>
      </p:grpSpPr>
      <p:pic>
        <p:nvPicPr>
          <p:cNvPr id="3" name="Picture 2" descr="A blue and red background&#10;&#10;AI-generated content may be incorrect.">
            <a:extLst>
              <a:ext uri="{FF2B5EF4-FFF2-40B4-BE49-F238E27FC236}">
                <a16:creationId xmlns:a16="http://schemas.microsoft.com/office/drawing/2014/main" id="{BBFC8868-BCF8-2EF4-AE9B-8641F358F3F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1345" b="4744"/>
          <a:stretch>
            <a:fillRect/>
          </a:stretch>
        </p:blipFill>
        <p:spPr>
          <a:xfrm>
            <a:off x="0" y="0"/>
            <a:ext cx="12191998"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17832389-BBB4-D415-2E01-214D01BA99EF}"/>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8456757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ackground 4">
    <p:spTree>
      <p:nvGrpSpPr>
        <p:cNvPr id="1" name=""/>
        <p:cNvGrpSpPr/>
        <p:nvPr/>
      </p:nvGrpSpPr>
      <p:grpSpPr>
        <a:xfrm>
          <a:off x="0" y="0"/>
          <a:ext cx="0" cy="0"/>
          <a:chOff x="0" y="0"/>
          <a:chExt cx="0" cy="0"/>
        </a:xfrm>
      </p:grpSpPr>
      <p:pic>
        <p:nvPicPr>
          <p:cNvPr id="6" name="Picture 5" descr="A blue and orange background&#10;&#10;AI-generated content may be incorrect.">
            <a:extLst>
              <a:ext uri="{FF2B5EF4-FFF2-40B4-BE49-F238E27FC236}">
                <a16:creationId xmlns:a16="http://schemas.microsoft.com/office/drawing/2014/main" id="{E3AEC7EF-E1D3-2298-1DBE-67672CD44B5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576" b="4818"/>
          <a:stretch>
            <a:fillRect/>
          </a:stretch>
        </p:blipFill>
        <p:spPr>
          <a:xfrm>
            <a:off x="-9334" y="1"/>
            <a:ext cx="12201333"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90CC1B2A-918B-0FDA-2DDE-31F074644669}"/>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13532867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ackground 5">
    <p:spTree>
      <p:nvGrpSpPr>
        <p:cNvPr id="1" name=""/>
        <p:cNvGrpSpPr/>
        <p:nvPr/>
      </p:nvGrpSpPr>
      <p:grpSpPr>
        <a:xfrm>
          <a:off x="0" y="0"/>
          <a:ext cx="0" cy="0"/>
          <a:chOff x="0" y="0"/>
          <a:chExt cx="0" cy="0"/>
        </a:xfrm>
      </p:grpSpPr>
      <p:pic>
        <p:nvPicPr>
          <p:cNvPr id="2" name="Picture 1" descr="A blue and black background&#10;&#10;AI-generated content may be incorrect.">
            <a:extLst>
              <a:ext uri="{FF2B5EF4-FFF2-40B4-BE49-F238E27FC236}">
                <a16:creationId xmlns:a16="http://schemas.microsoft.com/office/drawing/2014/main" id="{01333BD5-0115-B424-BB58-BBB0B87C1CE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1042" b="4818"/>
          <a:stretch>
            <a:fillRect/>
          </a:stretch>
        </p:blipFill>
        <p:spPr>
          <a:xfrm>
            <a:off x="-1" y="0"/>
            <a:ext cx="12201331" cy="6858000"/>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itle 1">
            <a:extLst>
              <a:ext uri="{FF2B5EF4-FFF2-40B4-BE49-F238E27FC236}">
                <a16:creationId xmlns:a16="http://schemas.microsoft.com/office/drawing/2014/main" id="{847134EB-8BAD-722F-C9AD-CF4EF682FF56}"/>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94985302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ackground 6">
    <p:spTree>
      <p:nvGrpSpPr>
        <p:cNvPr id="1" name=""/>
        <p:cNvGrpSpPr/>
        <p:nvPr/>
      </p:nvGrpSpPr>
      <p:grpSpPr>
        <a:xfrm>
          <a:off x="0" y="0"/>
          <a:ext cx="0" cy="0"/>
          <a:chOff x="0" y="0"/>
          <a:chExt cx="0" cy="0"/>
        </a:xfrm>
      </p:grpSpPr>
      <p:pic>
        <p:nvPicPr>
          <p:cNvPr id="3" name="Picture 2" descr="A blue background with a light&#10;&#10;AI-generated content may be incorrect.">
            <a:extLst>
              <a:ext uri="{FF2B5EF4-FFF2-40B4-BE49-F238E27FC236}">
                <a16:creationId xmlns:a16="http://schemas.microsoft.com/office/drawing/2014/main" id="{58CC931A-0D2A-512C-EAB0-14D8857A35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3E7932A5-0369-DFF3-C484-9FA5DF6E129E}"/>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2" name="Title 1">
            <a:extLst>
              <a:ext uri="{FF2B5EF4-FFF2-40B4-BE49-F238E27FC236}">
                <a16:creationId xmlns:a16="http://schemas.microsoft.com/office/drawing/2014/main" id="{32F7015F-B3C8-994E-AF5D-DEDEF171EB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8936486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ackground 7">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15B616D5-ACB3-F40B-E303-B79FE7D1C934}"/>
              </a:ext>
            </a:extLst>
          </p:cNvPr>
          <p:cNvSpPr>
            <a:spLocks noGrp="1"/>
          </p:cNvSpPr>
          <p:nvPr>
            <p:ph idx="1"/>
          </p:nvPr>
        </p:nvSpPr>
        <p:spPr>
          <a:xfrm>
            <a:off x="584200" y="1435503"/>
            <a:ext cx="11018520" cy="1465016"/>
          </a:xfrm>
          <a:prstGeom prst="rect">
            <a:avLst/>
          </a:prstGeom>
        </p:spPr>
        <p:txBody>
          <a:bodyPr vert="horz" wrap="square" lIns="0" tIns="0" rIns="0" bIns="0" rtlCol="0">
            <a:spAutoFit/>
          </a:bodyPr>
          <a:lstStyle>
            <a:lvl1pPr>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56370C7-A3D5-E477-12B1-A448861CBE35}"/>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292451545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ackground 7 Blank">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FFED00C8-116A-78FA-9CC6-526E7C5C5815}"/>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34190013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9729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Navy Background">
    <p:bg>
      <p:bgPr>
        <a:solidFill>
          <a:srgbClr val="151E4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57498-2775-75C5-CAA2-576475C15BD9}"/>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4082725817"/>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pic>
        <p:nvPicPr>
          <p:cNvPr id="11" name="Picture 10" descr="A blue background with a light&#10;&#10;AI-generated content may be incorrect.">
            <a:extLst>
              <a:ext uri="{FF2B5EF4-FFF2-40B4-BE49-F238E27FC236}">
                <a16:creationId xmlns:a16="http://schemas.microsoft.com/office/drawing/2014/main" id="{3FC72557-3C59-DB05-F117-34400904D0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pic>
        <p:nvPicPr>
          <p:cNvPr id="6" name="Picture 5">
            <a:extLst>
              <a:ext uri="{FF2B5EF4-FFF2-40B4-BE49-F238E27FC236}">
                <a16:creationId xmlns:a16="http://schemas.microsoft.com/office/drawing/2014/main" id="{B9EE9B54-C910-AF4F-330A-965CE1B959D5}"/>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0" i="0" spc="0" baseline="0">
                <a:solidFill>
                  <a:schemeClr val="tx1"/>
                </a:solidFill>
                <a:latin typeface="+mn-lt"/>
                <a:cs typeface="Segoe UI" panose="020B0502040204020203" pitchFamily="34" charset="0"/>
              </a:defRPr>
            </a:lvl1pPr>
          </a:lstStyle>
          <a:p>
            <a:pPr lvl="0"/>
            <a:r>
              <a:rPr lang="en-US"/>
              <a:t>Company or position</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4060953"/>
            <a:ext cx="8025384"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1800" b="1" i="0" spc="0" baseline="0">
                <a:solidFill>
                  <a:schemeClr val="tx1"/>
                </a:solidFill>
                <a:latin typeface="+mn-lt"/>
                <a:cs typeface="Segoe UI Semibold" panose="020B0502040204020203" pitchFamily="34" charset="0"/>
              </a:defRPr>
            </a:lvl1pPr>
          </a:lstStyle>
          <a:p>
            <a:pPr lvl="0"/>
            <a:r>
              <a:rPr lang="en-US"/>
              <a:t>Name</a:t>
            </a:r>
          </a:p>
        </p:txBody>
      </p:sp>
      <p:pic>
        <p:nvPicPr>
          <p:cNvPr id="7" name="Picture 6" descr="Quotation mark">
            <a:extLst>
              <a:ext uri="{FF2B5EF4-FFF2-40B4-BE49-F238E27FC236}">
                <a16:creationId xmlns:a16="http://schemas.microsoft.com/office/drawing/2014/main" id="{EABB847D-C857-0388-8E19-D6724CB4046B}"/>
              </a:ext>
            </a:extLst>
          </p:cNvPr>
          <p:cNvPicPr>
            <a:picLocks noChangeAspect="1"/>
          </p:cNvPicPr>
          <p:nvPr userDrawn="1"/>
        </p:nvPicPr>
        <p:blipFill>
          <a:blip r:embed="rId4"/>
          <a:stretch>
            <a:fillRect/>
          </a:stretch>
        </p:blipFill>
        <p:spPr>
          <a:xfrm>
            <a:off x="584200" y="1490472"/>
            <a:ext cx="2226687" cy="1938528"/>
          </a:xfrm>
          <a:prstGeom prst="rect">
            <a:avLst/>
          </a:prstGeom>
          <a:noFill/>
        </p:spPr>
      </p:pic>
      <p:sp>
        <p:nvSpPr>
          <p:cNvPr id="3" name="Title 1">
            <a:extLst>
              <a:ext uri="{FF2B5EF4-FFF2-40B4-BE49-F238E27FC236}">
                <a16:creationId xmlns:a16="http://schemas.microsoft.com/office/drawing/2014/main" id="{C62AA90A-06F1-29E3-2ABB-61028BFA1A77}"/>
              </a:ext>
            </a:extLst>
          </p:cNvPr>
          <p:cNvSpPr>
            <a:spLocks noGrp="1"/>
          </p:cNvSpPr>
          <p:nvPr>
            <p:ph type="title"/>
          </p:nvPr>
        </p:nvSpPr>
        <p:spPr>
          <a:xfrm>
            <a:off x="3582416" y="3088260"/>
            <a:ext cx="8025384" cy="498598"/>
          </a:xfrm>
          <a:prstGeom prst="rect">
            <a:avLst/>
          </a:prstGeom>
        </p:spPr>
        <p:txBody>
          <a:bodyPr lIns="0" rIns="0"/>
          <a:lstStyle>
            <a:lvl1pPr marL="0" algn="l" defTabSz="457200" rtl="0" eaLnBrk="1" latinLnBrk="0" hangingPunct="1">
              <a:lnSpc>
                <a:spcPct val="90000"/>
              </a:lnSpc>
              <a:spcBef>
                <a:spcPts val="0"/>
              </a:spcBef>
              <a:buNone/>
              <a:defRPr lang="en-US" sz="3600" b="0" kern="1200" cap="none" spc="0" baseline="0" dirty="0">
                <a:ln>
                  <a:noFill/>
                </a:ln>
                <a:gradFill flip="none" rotWithShape="1">
                  <a:gsLst>
                    <a:gs pos="0">
                      <a:srgbClr val="94D8FE"/>
                    </a:gs>
                    <a:gs pos="100000">
                      <a:prstClr val="white"/>
                    </a:gs>
                  </a:gsLst>
                  <a:lin ang="162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155638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3" name="Picture 2" descr="A blurry image of a blue and orange sky&#10;&#10;AI-generated content may be incorrect.">
            <a:extLst>
              <a:ext uri="{FF2B5EF4-FFF2-40B4-BE49-F238E27FC236}">
                <a16:creationId xmlns:a16="http://schemas.microsoft.com/office/drawing/2014/main" id="{170BB12D-8CE0-A385-EFC8-00809E995063}"/>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5841A6FB-2885-3BFF-70D4-A220E7814E50}"/>
              </a:ext>
            </a:extLst>
          </p:cNvPr>
          <p:cNvSpPr>
            <a:spLocks noGrp="1"/>
          </p:cNvSpPr>
          <p:nvPr>
            <p:ph type="title"/>
          </p:nvPr>
        </p:nvSpPr>
        <p:spPr>
          <a:xfrm>
            <a:off x="588263" y="2090220"/>
            <a:ext cx="5624968" cy="1588127"/>
          </a:xfrm>
          <a:prstGeom prst="rect">
            <a:avLst/>
          </a:prstGeom>
        </p:spPr>
        <p:txBody>
          <a:bodyPr wrap="square" lIns="0" tIns="45720" rIns="0" bIns="45720">
            <a:spAutoFit/>
          </a:bodyPr>
          <a:lstStyle>
            <a:lvl1pPr>
              <a:defRPr lang="en-US" sz="5400" spc="0" baseline="0">
                <a:ln>
                  <a:noFill/>
                </a:ln>
                <a:gradFill flip="none" rotWithShape="1">
                  <a:gsLst>
                    <a:gs pos="0">
                      <a:srgbClr val="94D8FE"/>
                    </a:gs>
                    <a:gs pos="100000">
                      <a:prstClr val="white"/>
                    </a:gs>
                  </a:gsLst>
                  <a:lin ang="16200000" scaled="1"/>
                  <a:tileRect/>
                </a:gradFill>
              </a:defRPr>
            </a:lvl1pPr>
          </a:lstStyle>
          <a:p>
            <a:pPr marL="0" lvl="0" defTabSz="457200">
              <a:lnSpc>
                <a:spcPct val="90000"/>
              </a:lnSpc>
              <a:spcBef>
                <a:spcPts val="0"/>
              </a:spcBef>
            </a:pPr>
            <a:r>
              <a:rPr lang="en-US"/>
              <a:t>Click to edit Master title style</a:t>
            </a:r>
          </a:p>
        </p:txBody>
      </p:sp>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4200" y="4253049"/>
            <a:ext cx="11018520" cy="1138773"/>
          </a:xfrm>
          <a:prstGeom prst="rect">
            <a:avLst/>
          </a:prstGeom>
        </p:spPr>
        <p:txBody>
          <a:bodyPr vert="horz" wrap="square" lIns="0" tIns="0" rIns="0" bIns="0" rtlCol="0">
            <a:spAutoFit/>
          </a:bodyPr>
          <a:lstStyle>
            <a:lvl1pPr marL="0" indent="0">
              <a:buFontTx/>
              <a:buNone/>
              <a:defRPr>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156549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3" name="Picture 2" descr="A blue and orange sky&#10;&#10;AI-generated content may be incorrect.">
            <a:extLst>
              <a:ext uri="{FF2B5EF4-FFF2-40B4-BE49-F238E27FC236}">
                <a16:creationId xmlns:a16="http://schemas.microsoft.com/office/drawing/2014/main" id="{63143516-6F43-972F-F75D-B6F86D60E1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4745"/>
          <a:stretch>
            <a:fillRect/>
          </a:stretch>
        </p:blipFill>
        <p:spPr>
          <a:xfrm>
            <a:off x="0" y="0"/>
            <a:ext cx="12192000" cy="6858000"/>
          </a:xfrm>
          <a:prstGeom prst="rect">
            <a:avLst/>
          </a:prstGeom>
        </p:spPr>
      </p:pic>
      <p:sp>
        <p:nvSpPr>
          <p:cNvPr id="4" name="Rectangle: Rounded Corners 3">
            <a:extLst>
              <a:ext uri="{FF2B5EF4-FFF2-40B4-BE49-F238E27FC236}">
                <a16:creationId xmlns:a16="http://schemas.microsoft.com/office/drawing/2014/main" id="{D0E162CF-D51E-042E-52CB-B4C7AD85FF93}"/>
              </a:ext>
            </a:extLst>
          </p:cNvPr>
          <p:cNvSpPr/>
          <p:nvPr userDrawn="1"/>
        </p:nvSpPr>
        <p:spPr bwMode="auto">
          <a:xfrm rot="16200000" flipH="1">
            <a:off x="3202634" y="-2045346"/>
            <a:ext cx="5786733" cy="11049002"/>
          </a:xfrm>
          <a:prstGeom prst="roundRect">
            <a:avLst>
              <a:gd name="adj" fmla="val 3551"/>
            </a:avLst>
          </a:prstGeom>
          <a:solidFill>
            <a:srgbClr val="94D8FE">
              <a:alpha val="25000"/>
            </a:srgbClr>
          </a:solidFill>
          <a:ln w="15875">
            <a:gradFill flip="none" rotWithShape="1">
              <a:gsLst>
                <a:gs pos="60000">
                  <a:srgbClr val="3D80A6">
                    <a:alpha val="0"/>
                  </a:srgbClr>
                </a:gs>
                <a:gs pos="40000">
                  <a:srgbClr val="66A5C8">
                    <a:alpha val="0"/>
                  </a:srgbClr>
                </a:gs>
                <a:gs pos="0">
                  <a:schemeClr val="bg1">
                    <a:alpha val="30000"/>
                  </a:schemeClr>
                </a:gs>
                <a:gs pos="100000">
                  <a:schemeClr val="bg1">
                    <a:alpha val="20000"/>
                  </a:schemeClr>
                </a:gs>
              </a:gsLst>
              <a:lin ang="8100000" scaled="1"/>
              <a:tileRect/>
            </a:gradFill>
          </a:ln>
          <a:effectLst>
            <a:outerShdw blurRad="127000" dist="508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chemeClr val="bg1"/>
              </a:solidFill>
              <a:cs typeface="Segoe UI" pitchFamily="34" charset="0"/>
            </a:endParaRPr>
          </a:p>
        </p:txBody>
      </p:sp>
      <p:sp>
        <p:nvSpPr>
          <p:cNvPr id="2" name="Title 1">
            <a:extLst>
              <a:ext uri="{FF2B5EF4-FFF2-40B4-BE49-F238E27FC236}">
                <a16:creationId xmlns:a16="http://schemas.microsoft.com/office/drawing/2014/main" id="{7BD644AA-78DC-4B3D-C942-06D502534D8E}"/>
              </a:ext>
            </a:extLst>
          </p:cNvPr>
          <p:cNvSpPr>
            <a:spLocks noGrp="1"/>
          </p:cNvSpPr>
          <p:nvPr>
            <p:ph type="title"/>
          </p:nvPr>
        </p:nvSpPr>
        <p:spPr>
          <a:xfrm>
            <a:off x="1182813" y="940284"/>
            <a:ext cx="10098100" cy="498598"/>
          </a:xfrm>
          <a:prstGeom prst="rect">
            <a:avLst/>
          </a:prstGeom>
        </p:spPr>
        <p:txBody>
          <a:bodyPr lIns="0" rIns="0"/>
          <a:lstStyle>
            <a:lvl1pPr>
              <a:defRPr spc="0" baseline="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BECC0BF1-2B06-50FB-75B6-AE688A86691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6" name="Text Placeholder 3">
            <a:extLst>
              <a:ext uri="{FF2B5EF4-FFF2-40B4-BE49-F238E27FC236}">
                <a16:creationId xmlns:a16="http://schemas.microsoft.com/office/drawing/2014/main" id="{B5CA8737-F968-D9D4-0E15-E2F00BEC5F9F}"/>
              </a:ext>
            </a:extLst>
          </p:cNvPr>
          <p:cNvSpPr>
            <a:spLocks noGrp="1"/>
          </p:cNvSpPr>
          <p:nvPr>
            <p:ph idx="1"/>
          </p:nvPr>
        </p:nvSpPr>
        <p:spPr>
          <a:xfrm>
            <a:off x="1182813" y="1741480"/>
            <a:ext cx="10098100" cy="1612749"/>
          </a:xfrm>
          <a:prstGeom prst="rect">
            <a:avLst/>
          </a:prstGeom>
        </p:spPr>
        <p:txBody>
          <a:bodyPr vert="horz" wrap="square" lIns="0" tIns="0" rIns="0" bIns="0" rtlCol="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631066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40B3E2-2543-6A21-CBC3-324EA6159EDA}"/>
              </a:ext>
            </a:extLst>
          </p:cNvPr>
          <p:cNvSpPr/>
          <p:nvPr userDrawn="1"/>
        </p:nvSpPr>
        <p:spPr bwMode="auto">
          <a:xfrm>
            <a:off x="3048" y="0"/>
            <a:ext cx="12188952" cy="6858000"/>
          </a:xfrm>
          <a:prstGeom prst="rect">
            <a:avLst/>
          </a:prstGeom>
          <a:solidFill>
            <a:srgbClr val="151E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5" name="Picture 4" descr="A blurry image of a blue and orange sky&#10;&#10;AI-generated content may be incorrect.">
            <a:extLst>
              <a:ext uri="{FF2B5EF4-FFF2-40B4-BE49-F238E27FC236}">
                <a16:creationId xmlns:a16="http://schemas.microsoft.com/office/drawing/2014/main" id="{7ECCAC18-2F4F-C147-45FB-166E499C5522}"/>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6522" t="1189" r="13264" b="356"/>
          <a:stretch>
            <a:fillRect/>
          </a:stretch>
        </p:blipFill>
        <p:spPr>
          <a:xfrm rot="10800000" flipV="1">
            <a:off x="3621432" y="1"/>
            <a:ext cx="8567520" cy="6857999"/>
          </a:xfrm>
          <a:prstGeom prst="rect">
            <a:avLst/>
          </a:prstGeom>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4253948" y="2117026"/>
            <a:ext cx="7348772" cy="1465016"/>
          </a:xfrm>
          <a:prstGeom prst="rect">
            <a:avLst/>
          </a:prstGeom>
        </p:spPr>
        <p:txBody>
          <a:bodyPr vert="horz" wrap="square" lIns="0" tIns="0" rIns="0" bIns="0" rtlCol="0">
            <a:spAutoFit/>
          </a:bodyPr>
          <a:lstStyle>
            <a:lvl1pPr marL="0" indent="0">
              <a:buFontTx/>
              <a:buNone/>
              <a:defRPr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80" y="2117026"/>
            <a:ext cx="2373598" cy="1939850"/>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078283388"/>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89DEF3-0942-1417-41F0-756470802144}"/>
              </a:ext>
            </a:extLst>
          </p:cNvPr>
          <p:cNvSpPr/>
          <p:nvPr userDrawn="1"/>
        </p:nvSpPr>
        <p:spPr bwMode="auto">
          <a:xfrm>
            <a:off x="3048" y="0"/>
            <a:ext cx="12188952" cy="6858000"/>
          </a:xfrm>
          <a:prstGeom prst="rect">
            <a:avLst/>
          </a:prstGeom>
          <a:solidFill>
            <a:srgbClr val="151E47"/>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bg1"/>
              </a:solidFill>
              <a:ea typeface="Segoe UI" pitchFamily="34" charset="0"/>
              <a:cs typeface="Segoe UI" pitchFamily="34" charset="0"/>
            </a:endParaRPr>
          </a:p>
        </p:txBody>
      </p:sp>
      <p:pic>
        <p:nvPicPr>
          <p:cNvPr id="3" name="Picture 2" descr="A blurry image of a blue and orange sky&#10;&#10;AI-generated content may be incorrect.">
            <a:extLst>
              <a:ext uri="{FF2B5EF4-FFF2-40B4-BE49-F238E27FC236}">
                <a16:creationId xmlns:a16="http://schemas.microsoft.com/office/drawing/2014/main" id="{9DDE651D-7217-BBE7-49BC-45969F3319F3}"/>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983" t="-246" r="24" b="356"/>
          <a:stretch>
            <a:fillRect/>
          </a:stretch>
        </p:blipFill>
        <p:spPr>
          <a:xfrm flipH="1" flipV="1">
            <a:off x="6096000" y="4492"/>
            <a:ext cx="6095994" cy="6730536"/>
          </a:xfrm>
          <a:prstGeom prst="roundRect">
            <a:avLst>
              <a:gd name="adj" fmla="val 0"/>
            </a:avLst>
          </a:prstGeom>
          <a:effectLst>
            <a:outerShdw blurRad="127000" dist="63500" dir="5400000" algn="t" rotWithShape="0">
              <a:prstClr val="black">
                <a:alpha val="10000"/>
              </a:prstClr>
            </a:outerShdw>
          </a:effectLst>
        </p:spPr>
      </p:pic>
      <p:pic>
        <p:nvPicPr>
          <p:cNvPr id="12" name="Picture 11">
            <a:extLst>
              <a:ext uri="{FF2B5EF4-FFF2-40B4-BE49-F238E27FC236}">
                <a16:creationId xmlns:a16="http://schemas.microsoft.com/office/drawing/2014/main" id="{6183884A-9238-BBF5-0572-AB8AFD039CB4}"/>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sp>
        <p:nvSpPr>
          <p:cNvPr id="13" name="Text Placeholder 3">
            <a:extLst>
              <a:ext uri="{FF2B5EF4-FFF2-40B4-BE49-F238E27FC236}">
                <a16:creationId xmlns:a16="http://schemas.microsoft.com/office/drawing/2014/main" id="{618EF35C-C4C5-BF1F-6F31-DD45121E6AFE}"/>
              </a:ext>
            </a:extLst>
          </p:cNvPr>
          <p:cNvSpPr>
            <a:spLocks noGrp="1"/>
          </p:cNvSpPr>
          <p:nvPr>
            <p:ph idx="1"/>
          </p:nvPr>
        </p:nvSpPr>
        <p:spPr>
          <a:xfrm>
            <a:off x="589279"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4F7DF0D4-95BD-466E-B24D-9779BEA64DCF}"/>
              </a:ext>
            </a:extLst>
          </p:cNvPr>
          <p:cNvSpPr>
            <a:spLocks noGrp="1"/>
          </p:cNvSpPr>
          <p:nvPr>
            <p:ph type="title"/>
          </p:nvPr>
        </p:nvSpPr>
        <p:spPr>
          <a:xfrm>
            <a:off x="589279" y="1140036"/>
            <a:ext cx="4589008" cy="1297925"/>
          </a:xfrm>
          <a:prstGeom prst="rect">
            <a:avLst/>
          </a:prstGeom>
        </p:spPr>
        <p:txBody>
          <a:bodyPr lIns="0" rIns="0"/>
          <a:lstStyle>
            <a:lvl1pPr>
              <a:defRPr spc="0" baseline="0"/>
            </a:lvl1pPr>
          </a:lstStyle>
          <a:p>
            <a:r>
              <a:rPr lang="en-US"/>
              <a:t>Click to edit Master title style</a:t>
            </a:r>
          </a:p>
        </p:txBody>
      </p:sp>
      <p:sp>
        <p:nvSpPr>
          <p:cNvPr id="7" name="Text Placeholder 3">
            <a:extLst>
              <a:ext uri="{FF2B5EF4-FFF2-40B4-BE49-F238E27FC236}">
                <a16:creationId xmlns:a16="http://schemas.microsoft.com/office/drawing/2014/main" id="{8C2EA7BC-13E3-34AE-5CA1-6EACB20A3A70}"/>
              </a:ext>
            </a:extLst>
          </p:cNvPr>
          <p:cNvSpPr>
            <a:spLocks noGrp="1"/>
          </p:cNvSpPr>
          <p:nvPr>
            <p:ph idx="10"/>
          </p:nvPr>
        </p:nvSpPr>
        <p:spPr>
          <a:xfrm>
            <a:off x="7031492" y="2859619"/>
            <a:ext cx="4589008" cy="1465016"/>
          </a:xfrm>
          <a:prstGeom prst="rect">
            <a:avLst/>
          </a:prstGeom>
        </p:spPr>
        <p:txBody>
          <a:bodyPr vert="horz" wrap="square" lIns="0" tIns="0" rIns="0" bIns="0" rtlCol="0">
            <a:spAutoFit/>
          </a:bodyPr>
          <a:lstStyle>
            <a:lvl1pPr marL="0" indent="0">
              <a:buFontTx/>
              <a:buNone/>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9FC8DB7-4630-1E38-B757-DD8B179A530D}"/>
              </a:ext>
            </a:extLst>
          </p:cNvPr>
          <p:cNvSpPr>
            <a:spLocks noGrp="1"/>
          </p:cNvSpPr>
          <p:nvPr>
            <p:ph idx="11" hasCustomPrompt="1"/>
          </p:nvPr>
        </p:nvSpPr>
        <p:spPr>
          <a:xfrm>
            <a:off x="7031492" y="1140036"/>
            <a:ext cx="4589008" cy="1107996"/>
          </a:xfrm>
          <a:prstGeom prst="rect">
            <a:avLst/>
          </a:prstGeom>
        </p:spPr>
        <p:txBody>
          <a:bodyPr vert="horz" wrap="square" lIns="0" tIns="0" rIns="0" bIns="0" rtlCol="0">
            <a:spAutoFit/>
          </a:bodyPr>
          <a:lstStyle>
            <a:lvl1pPr marL="0" indent="0" algn="l" defTabSz="932742" rtl="0" eaLnBrk="1" latinLnBrk="0" hangingPunct="1">
              <a:lnSpc>
                <a:spcPct val="100000"/>
              </a:lnSpc>
              <a:spcBef>
                <a:spcPct val="0"/>
              </a:spcBef>
              <a:buFontTx/>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itle style</a:t>
            </a:r>
          </a:p>
        </p:txBody>
      </p:sp>
    </p:spTree>
    <p:extLst>
      <p:ext uri="{BB962C8B-B14F-4D97-AF65-F5344CB8AC3E}">
        <p14:creationId xmlns:p14="http://schemas.microsoft.com/office/powerpoint/2010/main" val="106786446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86725FD6-88E3-D175-3BB1-C08805073FE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32D0726-123A-C3BC-D902-F43835E657A7}"/>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4" name="Title 1">
            <a:extLst>
              <a:ext uri="{FF2B5EF4-FFF2-40B4-BE49-F238E27FC236}">
                <a16:creationId xmlns:a16="http://schemas.microsoft.com/office/drawing/2014/main" id="{DEE10654-E662-486A-91E4-A0B519907B3A}"/>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9007612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Four column bullet">
    <p:spTree>
      <p:nvGrpSpPr>
        <p:cNvPr id="1" name=""/>
        <p:cNvGrpSpPr/>
        <p:nvPr/>
      </p:nvGrpSpPr>
      <p:grpSpPr>
        <a:xfrm>
          <a:off x="0" y="0"/>
          <a:ext cx="0" cy="0"/>
          <a:chOff x="0" y="0"/>
          <a:chExt cx="0" cy="0"/>
        </a:xfrm>
      </p:grpSpPr>
      <p:pic>
        <p:nvPicPr>
          <p:cNvPr id="2" name="Picture 1" descr="A blue background with a light&#10;&#10;AI-generated content may be incorrect.">
            <a:extLst>
              <a:ext uri="{FF2B5EF4-FFF2-40B4-BE49-F238E27FC236}">
                <a16:creationId xmlns:a16="http://schemas.microsoft.com/office/drawing/2014/main" id="{EC0129C9-611E-40C7-935F-FE79CCB43F1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bg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solidFill>
                  <a:schemeClr val="bg1"/>
                </a:solidFill>
              </a:defRPr>
            </a:lvl1pPr>
            <a:lvl2pPr marL="285750" indent="-125413">
              <a:defRPr lang="en-US" sz="1200" dirty="0">
                <a:solidFill>
                  <a:schemeClr val="bg1"/>
                </a:solidFill>
              </a:defRPr>
            </a:lvl2pPr>
            <a:lvl3pPr marL="438150" indent="-133350">
              <a:defRPr lang="en-US" sz="1200" dirty="0">
                <a:solidFill>
                  <a:schemeClr val="bg1"/>
                </a:solidFill>
              </a:defRPr>
            </a:lvl3pPr>
            <a:lvl4pPr marL="566738" indent="-114300">
              <a:defRPr lang="en-US" sz="1200" dirty="0">
                <a:solidFill>
                  <a:schemeClr val="bg1"/>
                </a:solidFill>
              </a:defRPr>
            </a:lvl4pPr>
            <a:lvl5pPr marL="685800" indent="-109538">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0AF402B5-027B-5EC2-96FF-0F2D2940C8EC}"/>
              </a:ext>
              <a:ext uri="{C183D7F6-B498-43B3-948B-1728B52AA6E4}">
                <adec:decorative xmlns:adec="http://schemas.microsoft.com/office/drawing/2017/decorative" val="1"/>
              </a:ext>
            </a:extLst>
          </p:cNvPr>
          <p:cNvPicPr>
            <a:picLocks noChangeAspect="1"/>
          </p:cNvPicPr>
          <p:nvPr userDrawn="1"/>
        </p:nvPicPr>
        <p:blipFill rotWithShape="1">
          <a:blip r:embed="rId3"/>
          <a:srcRect l="370" t="1" r="531" b="29523"/>
          <a:stretch>
            <a:fillRect/>
          </a:stretch>
        </p:blipFill>
        <p:spPr>
          <a:xfrm rot="10800000" flipV="1">
            <a:off x="-9333" y="6675119"/>
            <a:ext cx="12201331" cy="182880"/>
          </a:xfrm>
          <a:prstGeom prst="rect">
            <a:avLst/>
          </a:prstGeom>
          <a:ln>
            <a:noFill/>
          </a:ln>
          <a:effectLst/>
        </p:spPr>
      </p:pic>
      <p:sp>
        <p:nvSpPr>
          <p:cNvPr id="5" name="Title 1">
            <a:extLst>
              <a:ext uri="{FF2B5EF4-FFF2-40B4-BE49-F238E27FC236}">
                <a16:creationId xmlns:a16="http://schemas.microsoft.com/office/drawing/2014/main" id="{E069B642-F814-0105-94A5-568EB275A72B}"/>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19118316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84830D14-0F50-91A0-8E6A-E336C41030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6"/>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282096"/>
            <a:ext cx="5367528"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1618146"/>
            <a:ext cx="5367528"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6" name="Picture 5">
            <a:extLst>
              <a:ext uri="{FF2B5EF4-FFF2-40B4-BE49-F238E27FC236}">
                <a16:creationId xmlns:a16="http://schemas.microsoft.com/office/drawing/2014/main" id="{EA9B12E0-2F4A-3379-ADB3-EBE82CFC317D}"/>
              </a:ext>
              <a:ext uri="{C183D7F6-B498-43B3-948B-1728B52AA6E4}">
                <adec:decorative xmlns:adec="http://schemas.microsoft.com/office/drawing/2017/decorative" val="1"/>
              </a:ext>
            </a:extLst>
          </p:cNvPr>
          <p:cNvPicPr>
            <a:picLocks noChangeAspect="1"/>
          </p:cNvPicPr>
          <p:nvPr userDrawn="1"/>
        </p:nvPicPr>
        <p:blipFill rotWithShape="1">
          <a:blip r:embed="rId5"/>
          <a:srcRect l="370" t="1" r="531" b="29523"/>
          <a:stretch>
            <a:fillRect/>
          </a:stretch>
        </p:blipFill>
        <p:spPr>
          <a:xfrm rot="10800000" flipV="1">
            <a:off x="-9333" y="6675119"/>
            <a:ext cx="12201331" cy="182880"/>
          </a:xfrm>
          <a:prstGeom prst="rect">
            <a:avLst/>
          </a:prstGeom>
          <a:ln>
            <a:noFill/>
          </a:ln>
          <a:effectLst/>
        </p:spPr>
      </p:pic>
      <p:sp>
        <p:nvSpPr>
          <p:cNvPr id="3" name="Title 1">
            <a:extLst>
              <a:ext uri="{FF2B5EF4-FFF2-40B4-BE49-F238E27FC236}">
                <a16:creationId xmlns:a16="http://schemas.microsoft.com/office/drawing/2014/main" id="{74A51CF8-7460-331F-A702-675E514AAA64}"/>
              </a:ext>
            </a:extLst>
          </p:cNvPr>
          <p:cNvSpPr>
            <a:spLocks noGrp="1"/>
          </p:cNvSpPr>
          <p:nvPr>
            <p:ph type="title"/>
          </p:nvPr>
        </p:nvSpPr>
        <p:spPr>
          <a:xfrm>
            <a:off x="588263" y="485481"/>
            <a:ext cx="11018520" cy="498598"/>
          </a:xfrm>
          <a:prstGeom prst="rect">
            <a:avLst/>
          </a:prstGeom>
        </p:spPr>
        <p:txBody>
          <a:bodyPr lIns="0" rIns="0"/>
          <a:lstStyle>
            <a:lvl1pPr>
              <a:defRPr spc="0" baseline="0"/>
            </a:lvl1pPr>
          </a:lstStyle>
          <a:p>
            <a:r>
              <a:rPr lang="en-US"/>
              <a:t>Click to edit Master title style</a:t>
            </a:r>
          </a:p>
        </p:txBody>
      </p:sp>
    </p:spTree>
    <p:extLst>
      <p:ext uri="{BB962C8B-B14F-4D97-AF65-F5344CB8AC3E}">
        <p14:creationId xmlns:p14="http://schemas.microsoft.com/office/powerpoint/2010/main" val="38193619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pic>
        <p:nvPicPr>
          <p:cNvPr id="5" name="Picture 4" descr="A blue background with a light&#10;&#10;AI-generated content may be incorrect.">
            <a:extLst>
              <a:ext uri="{FF2B5EF4-FFF2-40B4-BE49-F238E27FC236}">
                <a16:creationId xmlns:a16="http://schemas.microsoft.com/office/drawing/2014/main" id="{CB772E2F-77B4-7D2D-FBA0-B04CAA0DD52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r="980" b="4818"/>
          <a:stretch>
            <a:fillRect/>
          </a:stretch>
        </p:blipFill>
        <p:spPr>
          <a:xfrm>
            <a:off x="-9334" y="0"/>
            <a:ext cx="12201333" cy="6857999"/>
          </a:xfrm>
          <a:prstGeom prst="rect">
            <a:avLst/>
          </a:prstGeom>
        </p:spPr>
      </p:pic>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618145"/>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1618145"/>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282095"/>
            <a:ext cx="3475037" cy="579438"/>
          </a:xfrm>
          <a:prstGeom prst="rect">
            <a:avLst/>
          </a:prstGeom>
        </p:spPr>
        <p:txBody>
          <a:bodyPr/>
          <a:lstStyle>
            <a:lvl1pPr marL="0" indent="0" algn="l">
              <a:spcBef>
                <a:spcPts val="0"/>
              </a:spcBef>
              <a:buNone/>
              <a:defRPr sz="1600">
                <a:solidFill>
                  <a:schemeClr val="bg1"/>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1618145"/>
            <a:ext cx="3474720" cy="3474720"/>
          </a:xfrm>
          <a:prstGeom prst="rect">
            <a:avLst/>
          </a:prstGeom>
          <a:blipFill>
            <a:blip r:embed="rId5"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C6B2DF11-B020-17DD-ECE5-E997AF073F0A}"/>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a:lstStyle>
          <a:p>
            <a:r>
              <a:rPr lang="en-US"/>
              <a:t>Click to edit Master title style</a:t>
            </a:r>
          </a:p>
        </p:txBody>
      </p:sp>
      <p:pic>
        <p:nvPicPr>
          <p:cNvPr id="6" name="Picture 5">
            <a:extLst>
              <a:ext uri="{FF2B5EF4-FFF2-40B4-BE49-F238E27FC236}">
                <a16:creationId xmlns:a16="http://schemas.microsoft.com/office/drawing/2014/main" id="{D91CBE31-E5B4-E569-7834-1EB2C63206A3}"/>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Tree>
    <p:extLst>
      <p:ext uri="{BB962C8B-B14F-4D97-AF65-F5344CB8AC3E}">
        <p14:creationId xmlns:p14="http://schemas.microsoft.com/office/powerpoint/2010/main" val="944065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416152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A30EF81F-2C86-F935-8EF6-F64F7E255C3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bg1"/>
                </a:solidFill>
                <a:latin typeface="+mn-lt"/>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solidFill>
                  <a:schemeClr val="bg1"/>
                </a:solidFill>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Picture 8">
            <a:extLst>
              <a:ext uri="{FF2B5EF4-FFF2-40B4-BE49-F238E27FC236}">
                <a16:creationId xmlns:a16="http://schemas.microsoft.com/office/drawing/2014/main" id="{52D052A6-D7A7-1A83-F3DB-CB85339C32AA}"/>
              </a:ext>
              <a:ext uri="{C183D7F6-B498-43B3-948B-1728B52AA6E4}">
                <adec:decorative xmlns:adec="http://schemas.microsoft.com/office/drawing/2017/decorative" val="1"/>
              </a:ext>
            </a:extLst>
          </p:cNvPr>
          <p:cNvPicPr>
            <a:picLocks noChangeAspect="1"/>
          </p:cNvPicPr>
          <p:nvPr userDrawn="1"/>
        </p:nvPicPr>
        <p:blipFill rotWithShape="1">
          <a:blip r:embed="rId4"/>
          <a:srcRect l="370" t="1" r="531" b="29523"/>
          <a:stretch>
            <a:fillRect/>
          </a:stretch>
        </p:blipFill>
        <p:spPr>
          <a:xfrm rot="10800000" flipV="1">
            <a:off x="-9333" y="6675119"/>
            <a:ext cx="12201331" cy="182880"/>
          </a:xfrm>
          <a:prstGeom prst="rect">
            <a:avLst/>
          </a:prstGeom>
          <a:ln>
            <a:noFill/>
          </a:ln>
          <a:effectLst/>
        </p:spPr>
      </p:pic>
      <p:cxnSp>
        <p:nvCxnSpPr>
          <p:cNvPr id="12" name="Straight Connector 11">
            <a:extLst>
              <a:ext uri="{FF2B5EF4-FFF2-40B4-BE49-F238E27FC236}">
                <a16:creationId xmlns:a16="http://schemas.microsoft.com/office/drawing/2014/main" id="{A07110ED-B1D6-28CC-E2DD-7818577AFE6B}"/>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6CD54E-4D0E-5619-759C-8BCEADCCBCF9}"/>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18487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blue and orange sky&#10;&#10;AI-generated content may be incorrect.">
            <a:extLst>
              <a:ext uri="{FF2B5EF4-FFF2-40B4-BE49-F238E27FC236}">
                <a16:creationId xmlns:a16="http://schemas.microsoft.com/office/drawing/2014/main" id="{C1CE11E4-B8BE-A9CE-DCB7-4BB082B2CB9C}"/>
              </a:ext>
            </a:extLst>
          </p:cNvPr>
          <p:cNvPicPr>
            <a:picLocks noChangeAspect="1"/>
          </p:cNvPicPr>
          <p:nvPr userDrawn="1"/>
        </p:nvPicPr>
        <p:blipFill>
          <a:blip r:embed="rId2">
            <a:alphaModFix/>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3" t="1189" r="13" b="356"/>
          <a:stretch>
            <a:fillRect/>
          </a:stretch>
        </p:blipFill>
        <p:spPr>
          <a:xfrm rot="10800000" flipV="1">
            <a:off x="0" y="1"/>
            <a:ext cx="12201331" cy="6857999"/>
          </a:xfrm>
          <a:prstGeom prst="rect">
            <a:avLst/>
          </a:prstGeom>
          <a:effectLst/>
        </p:spPr>
      </p:pic>
      <p:pic>
        <p:nvPicPr>
          <p:cNvPr id="5" name="Picture 4" descr="A close up of a corner of a paper&#10;&#10;AI-generated content may be incorrect.">
            <a:extLst>
              <a:ext uri="{FF2B5EF4-FFF2-40B4-BE49-F238E27FC236}">
                <a16:creationId xmlns:a16="http://schemas.microsoft.com/office/drawing/2014/main" id="{DFB73796-4E7B-0C74-4CA1-AA47D2F077A4}"/>
              </a:ext>
            </a:extLst>
          </p:cNvPr>
          <p:cNvPicPr>
            <a:picLocks noChangeAspect="1"/>
          </p:cNvPicPr>
          <p:nvPr userDrawn="1"/>
        </p:nvPicPr>
        <p:blipFill>
          <a:blip r:embed="rId4">
            <a:alphaModFix amt="85000"/>
            <a:extLst>
              <a:ext uri="{BEBA8EAE-BF5A-486C-A8C5-ECC9F3942E4B}">
                <a14:imgProps xmlns:a14="http://schemas.microsoft.com/office/drawing/2010/main">
                  <a14:imgLayer r:embed="rId5">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rcRect l="59455" t="5931" r="688" b="15639"/>
          <a:stretch>
            <a:fillRect/>
          </a:stretch>
        </p:blipFill>
        <p:spPr>
          <a:xfrm rot="16200000">
            <a:off x="6433950" y="963158"/>
            <a:ext cx="6730538" cy="4804224"/>
          </a:xfrm>
          <a:prstGeom prst="rect">
            <a:avLst/>
          </a:prstGeom>
        </p:spPr>
      </p:pic>
      <p:pic>
        <p:nvPicPr>
          <p:cNvPr id="6" name="Picture 5">
            <a:extLst>
              <a:ext uri="{FF2B5EF4-FFF2-40B4-BE49-F238E27FC236}">
                <a16:creationId xmlns:a16="http://schemas.microsoft.com/office/drawing/2014/main" id="{EE9D2CF4-1584-E026-75D3-CA842F77711B}"/>
              </a:ext>
              <a:ext uri="{C183D7F6-B498-43B3-948B-1728B52AA6E4}">
                <adec:decorative xmlns:adec="http://schemas.microsoft.com/office/drawing/2017/decorative" val="1"/>
              </a:ext>
            </a:extLst>
          </p:cNvPr>
          <p:cNvPicPr>
            <a:picLocks noChangeAspect="1"/>
          </p:cNvPicPr>
          <p:nvPr userDrawn="1"/>
        </p:nvPicPr>
        <p:blipFill rotWithShape="1">
          <a:blip r:embed="rId6"/>
          <a:srcRect l="370" t="1" r="531" b="29523"/>
          <a:stretch>
            <a:fillRect/>
          </a:stretch>
        </p:blipFill>
        <p:spPr>
          <a:xfrm rot="10800000" flipV="1">
            <a:off x="-9333" y="6675119"/>
            <a:ext cx="12201331" cy="182880"/>
          </a:xfrm>
          <a:prstGeom prst="rect">
            <a:avLst/>
          </a:prstGeom>
          <a:ln>
            <a:noFill/>
          </a:ln>
          <a:effectLst/>
        </p:spPr>
      </p:pic>
      <p:sp>
        <p:nvSpPr>
          <p:cNvPr id="3" name="TextBox 2">
            <a:extLst>
              <a:ext uri="{FF2B5EF4-FFF2-40B4-BE49-F238E27FC236}">
                <a16:creationId xmlns:a16="http://schemas.microsoft.com/office/drawing/2014/main" id="{0F2B7703-B80B-4610-1A72-01F0C5AC4D49}"/>
              </a:ext>
            </a:extLst>
          </p:cNvPr>
          <p:cNvSpPr txBox="1"/>
          <p:nvPr userDrawn="1"/>
        </p:nvSpPr>
        <p:spPr>
          <a:xfrm>
            <a:off x="583953" y="2139416"/>
            <a:ext cx="7331228" cy="2579168"/>
          </a:xfrm>
          <a:prstGeom prst="rect">
            <a:avLst/>
          </a:prstGeom>
          <a:noFill/>
          <a:ln>
            <a:noFill/>
            <a:prstDash/>
          </a:ln>
          <a:effectLst/>
        </p:spPr>
        <p:txBody>
          <a:bodyPr wrap="square" lIns="0" rIns="0">
            <a:spAutoFit/>
          </a:bodyPr>
          <a:lstStyle/>
          <a:p>
            <a:pPr>
              <a:lnSpc>
                <a:spcPct val="80000"/>
              </a:lnSpc>
              <a:spcAft>
                <a:spcPts val="600"/>
              </a:spcAft>
            </a:pP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Thank</a:t>
            </a:r>
            <a:b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br>
            <a:r>
              <a:rPr lang="en-US" sz="10100" spc="0" baseline="0">
                <a:gradFill flip="none" rotWithShape="1">
                  <a:gsLst>
                    <a:gs pos="0">
                      <a:srgbClr val="94D8FE"/>
                    </a:gs>
                    <a:gs pos="100000">
                      <a:srgbClr val="FFFFFF"/>
                    </a:gs>
                  </a:gsLst>
                  <a:lin ang="13500000" scaled="1"/>
                  <a:tileRect/>
                </a:gradFill>
                <a:latin typeface="Segoe Sans Display Semibold" pitchFamily="2" charset="0"/>
                <a:cs typeface="Segoe Sans Display Semibold" pitchFamily="2" charset="0"/>
              </a:rPr>
              <a:t>      you!</a:t>
            </a:r>
          </a:p>
        </p:txBody>
      </p:sp>
    </p:spTree>
    <p:extLst>
      <p:ext uri="{BB962C8B-B14F-4D97-AF65-F5344CB8AC3E}">
        <p14:creationId xmlns:p14="http://schemas.microsoft.com/office/powerpoint/2010/main" val="2875205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slide 1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E53CB7-242F-DE31-5043-E20246F1EB33}"/>
              </a:ext>
              <a:ext uri="{C183D7F6-B498-43B3-948B-1728B52AA6E4}">
                <adec:decorative xmlns:adec="http://schemas.microsoft.com/office/drawing/2017/decorative" val="1"/>
              </a:ext>
            </a:extLst>
          </p:cNvPr>
          <p:cNvPicPr>
            <a:picLocks noChangeAspect="1"/>
          </p:cNvPicPr>
          <p:nvPr userDrawn="1"/>
        </p:nvPicPr>
        <p:blipFill rotWithShape="1">
          <a:blip r:embed="rId2"/>
          <a:srcRect l="370" t="1" r="531" b="29523"/>
          <a:stretch>
            <a:fillRect/>
          </a:stretch>
        </p:blipFill>
        <p:spPr>
          <a:xfrm rot="10800000" flipV="1">
            <a:off x="-9333" y="6675119"/>
            <a:ext cx="12201331" cy="182880"/>
          </a:xfrm>
          <a:prstGeom prst="rect">
            <a:avLst/>
          </a:prstGeom>
          <a:ln>
            <a:noFill/>
          </a:ln>
          <a:effectLst/>
        </p:spPr>
      </p:pic>
      <p:sp>
        <p:nvSpPr>
          <p:cNvPr id="19" name="Title 1">
            <a:extLst>
              <a:ext uri="{FF2B5EF4-FFF2-40B4-BE49-F238E27FC236}">
                <a16:creationId xmlns:a16="http://schemas.microsoft.com/office/drawing/2014/main" id="{72535865-A229-5507-A2C7-11ECB16F392F}"/>
              </a:ext>
            </a:extLst>
          </p:cNvPr>
          <p:cNvSpPr>
            <a:spLocks noGrp="1"/>
          </p:cNvSpPr>
          <p:nvPr>
            <p:ph type="title"/>
          </p:nvPr>
        </p:nvSpPr>
        <p:spPr>
          <a:xfrm>
            <a:off x="588263" y="485481"/>
            <a:ext cx="11018520" cy="498598"/>
          </a:xfrm>
          <a:prstGeom prst="rect">
            <a:avLst/>
          </a:prstGeom>
        </p:spPr>
        <p:txBody>
          <a:bodyPr lIns="0" rIns="0"/>
          <a:lstStyle>
            <a:lvl1pPr>
              <a:defRPr spc="0" baseline="0">
                <a:solidFill>
                  <a:srgbClr val="151E47"/>
                </a:solidFill>
                <a:latin typeface="Segoe Sans Display Semibold" pitchFamily="2" charset="0"/>
                <a:cs typeface="Segoe Sans Display Semibold" pitchFamily="2" charset="0"/>
              </a:defRPr>
            </a:lvl1pPr>
          </a:lstStyle>
          <a:p>
            <a:r>
              <a:rPr lang="en-US"/>
              <a:t>Click to edit Master title style</a:t>
            </a:r>
          </a:p>
        </p:txBody>
      </p:sp>
      <p:sp>
        <p:nvSpPr>
          <p:cNvPr id="21" name="Text Placeholder 3">
            <a:extLst>
              <a:ext uri="{FF2B5EF4-FFF2-40B4-BE49-F238E27FC236}">
                <a16:creationId xmlns:a16="http://schemas.microsoft.com/office/drawing/2014/main" id="{C221563D-9D7D-59D4-15F5-691342AAF2A4}"/>
              </a:ext>
            </a:extLst>
          </p:cNvPr>
          <p:cNvSpPr>
            <a:spLocks noGrp="1"/>
          </p:cNvSpPr>
          <p:nvPr>
            <p:ph idx="1"/>
          </p:nvPr>
        </p:nvSpPr>
        <p:spPr>
          <a:xfrm>
            <a:off x="584200" y="1435503"/>
            <a:ext cx="11018520" cy="1428083"/>
          </a:xfrm>
          <a:prstGeom prst="rect">
            <a:avLst/>
          </a:prstGeom>
        </p:spPr>
        <p:txBody>
          <a:bodyPr vert="horz" wrap="square" lIns="0" tIns="0" rIns="0" bIns="0" rtlCol="0">
            <a:spAutoFit/>
          </a:bodyPr>
          <a:lstStyle>
            <a:lvl1pPr>
              <a:defRPr sz="1600">
                <a:solidFill>
                  <a:srgbClr val="151E47"/>
                </a:solidFill>
              </a:defRPr>
            </a:lvl1pPr>
            <a:lvl2pPr>
              <a:defRPr sz="1600">
                <a:solidFill>
                  <a:srgbClr val="151E47"/>
                </a:solidFill>
              </a:defRPr>
            </a:lvl2pPr>
            <a:lvl3pPr>
              <a:defRPr sz="1600">
                <a:solidFill>
                  <a:srgbClr val="151E47"/>
                </a:solidFill>
              </a:defRPr>
            </a:lvl3pPr>
            <a:lvl4pPr>
              <a:defRPr sz="1600">
                <a:solidFill>
                  <a:srgbClr val="151E47"/>
                </a:solidFill>
              </a:defRPr>
            </a:lvl4pPr>
            <a:lvl5pPr>
              <a:defRPr sz="1600">
                <a:solidFill>
                  <a:srgbClr val="151E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653746"/>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slide 2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9C099-894E-0D88-9D9C-CE47048BD8A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24203456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 l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42164CE7-7EBA-E88A-2231-BDF02151AE93}"/>
              </a:ext>
            </a:extLst>
          </p:cNvPr>
          <p:cNvSpPr>
            <a:spLocks noGrp="1"/>
          </p:cNvSpPr>
          <p:nvPr>
            <p:ph sz="quarter" idx="12"/>
          </p:nvPr>
        </p:nvSpPr>
        <p:spPr>
          <a:xfrm>
            <a:off x="584200" y="1435100"/>
            <a:ext cx="5211763"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8">
            <a:extLst>
              <a:ext uri="{FF2B5EF4-FFF2-40B4-BE49-F238E27FC236}">
                <a16:creationId xmlns:a16="http://schemas.microsoft.com/office/drawing/2014/main" id="{E3FFCAA8-00AC-8B58-6070-7C9FBA29B3C8}"/>
              </a:ext>
            </a:extLst>
          </p:cNvPr>
          <p:cNvSpPr>
            <a:spLocks noGrp="1"/>
          </p:cNvSpPr>
          <p:nvPr>
            <p:ph sz="quarter" idx="13"/>
          </p:nvPr>
        </p:nvSpPr>
        <p:spPr>
          <a:xfrm>
            <a:off x="6389688" y="1435100"/>
            <a:ext cx="5219700" cy="4833938"/>
          </a:xfrm>
          <a:prstGeom prst="rect">
            <a:avLst/>
          </a:prstGeom>
        </p:spPr>
        <p:txBody>
          <a:bodyPr lIns="0" rIns="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100DC9-F079-8524-5830-3A36378B22B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3898928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Four column bullet - light">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1600">
                <a:solidFill>
                  <a:schemeClr val="tx1"/>
                </a:solidFill>
                <a:latin typeface="+mn-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163395"/>
          </a:xfrm>
          <a:prstGeom prst="rect">
            <a:avLst/>
          </a:prstGeom>
        </p:spPr>
        <p:txBody>
          <a:bodyPr wrap="square">
            <a:spAutoFit/>
          </a:bodyPr>
          <a:lstStyle>
            <a:lvl1pPr marL="141288" indent="-141288">
              <a:defRPr lang="en-US" sz="1200" dirty="0"/>
            </a:lvl1pPr>
            <a:lvl2pPr marL="285750" indent="-125413">
              <a:defRPr lang="en-US" sz="1200" dirty="0"/>
            </a:lvl2pPr>
            <a:lvl3pPr marL="438150" indent="-133350">
              <a:defRPr lang="en-US" sz="12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D947218-CB56-374F-5584-04BA67C1703D}"/>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9562086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86B7CA03-C864-862E-0B28-6FF509BF2D03}"/>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10104517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ree picture content - ligh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600">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1">
            <a:extLst>
              <a:ext uri="{FF2B5EF4-FFF2-40B4-BE49-F238E27FC236}">
                <a16:creationId xmlns:a16="http://schemas.microsoft.com/office/drawing/2014/main" id="{0ECD512D-523B-6987-EBE4-CD6774F2456C}"/>
              </a:ext>
            </a:extLst>
          </p:cNvPr>
          <p:cNvSpPr>
            <a:spLocks noGrp="1"/>
          </p:cNvSpPr>
          <p:nvPr>
            <p:ph type="title"/>
          </p:nvPr>
        </p:nvSpPr>
        <p:spPr>
          <a:xfrm>
            <a:off x="588263" y="485481"/>
            <a:ext cx="11018520" cy="498598"/>
          </a:xfrm>
          <a:prstGeom prst="rect">
            <a:avLst/>
          </a:prstGeom>
        </p:spPr>
        <p:txBody>
          <a:bodyPr lIns="0" rIns="0"/>
          <a:lstStyle>
            <a:lvl1pPr algn="l" defTabSz="932742" rtl="0" eaLnBrk="1" latinLnBrk="0" hangingPunct="1">
              <a:lnSpc>
                <a:spcPct val="100000"/>
              </a:lnSpc>
              <a:spcBef>
                <a:spcPct val="0"/>
              </a:spcBef>
              <a:buNone/>
              <a:defRPr lang="en-US" sz="3600" b="0" kern="1200" cap="none" spc="0" baseline="0" dirty="0">
                <a:ln w="3175">
                  <a:noFill/>
                </a:ln>
                <a:solidFill>
                  <a:srgbClr val="151E47"/>
                </a:solidFill>
                <a:effectLst/>
                <a:latin typeface="Segoe Sans Display Semibold" pitchFamily="2" charset="0"/>
                <a:ea typeface="+mn-ea"/>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203623183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text side by side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a:prstGeom prst="rect">
            <a:avLst/>
          </a:prstGeom>
        </p:spPr>
        <p:txBody>
          <a:bodyPr lIns="0" rIns="0" anchor="t"/>
          <a:lstStyle>
            <a:lvl1pPr>
              <a:defRPr spc="0" baseline="0">
                <a:solidFill>
                  <a:schemeClr val="tx1"/>
                </a:solidFill>
                <a:latin typeface="Segoe Sans Display "/>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a:prstGeom prst="rect">
            <a:avLst/>
          </a:prstGeom>
        </p:spPr>
        <p:txBody>
          <a:bodyPr lIns="0" rIns="0" anchor="t"/>
          <a:lstStyle>
            <a:lvl1pPr marL="231775" indent="-231775">
              <a:spcAft>
                <a:spcPts val="600"/>
              </a:spcAft>
              <a:buFont typeface="Wingdings" panose="05000000000000000000" pitchFamily="2" charset="2"/>
              <a:buChar char=""/>
              <a:defRPr baseline="0">
                <a:latin typeface="+mn-lt"/>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0" name="Straight Connector 9">
            <a:extLst>
              <a:ext uri="{FF2B5EF4-FFF2-40B4-BE49-F238E27FC236}">
                <a16:creationId xmlns:a16="http://schemas.microsoft.com/office/drawing/2014/main" id="{4B7175DD-9188-BAB1-B7F0-9EEC45E7818C}"/>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45601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CB8D68C-3D8E-5E53-1142-AF659F272741}"/>
              </a:ext>
            </a:extLst>
          </p:cNvPr>
          <p:cNvPicPr>
            <a:picLocks noChangeAspect="1"/>
          </p:cNvPicPr>
          <p:nvPr userDrawn="1"/>
        </p:nvPicPr>
        <p:blipFill>
          <a:blip r:embed="rId3"/>
          <a:srcRect l="7268" t="12785" r="29138" b="23622"/>
          <a:stretch>
            <a:fillRect/>
          </a:stretch>
        </p:blipFill>
        <p:spPr>
          <a:xfrm>
            <a:off x="-1" y="-1"/>
            <a:ext cx="12192001" cy="6858001"/>
          </a:xfrm>
          <a:prstGeom prst="rect">
            <a:avLst/>
          </a:prstGeom>
        </p:spPr>
      </p:pic>
      <p:sp>
        <p:nvSpPr>
          <p:cNvPr id="4" name="TextBox 3">
            <a:extLst>
              <a:ext uri="{FF2B5EF4-FFF2-40B4-BE49-F238E27FC236}">
                <a16:creationId xmlns:a16="http://schemas.microsoft.com/office/drawing/2014/main" id="{7EAAE3D9-740A-1FF6-16C8-C63C68E2B8EC}"/>
              </a:ext>
            </a:extLst>
          </p:cNvPr>
          <p:cNvSpPr txBox="1"/>
          <p:nvPr userDrawn="1"/>
        </p:nvSpPr>
        <p:spPr>
          <a:xfrm>
            <a:off x="584200" y="518873"/>
            <a:ext cx="327355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a:ea typeface="+mn-ea"/>
                <a:cs typeface="+mn-cs"/>
              </a:rPr>
              <a:t>Agent 365</a:t>
            </a:r>
          </a:p>
        </p:txBody>
      </p:sp>
      <p:pic>
        <p:nvPicPr>
          <p:cNvPr id="2" name="MS logo white - EMF" descr="Microsoft logo white text version">
            <a:extLst>
              <a:ext uri="{FF2B5EF4-FFF2-40B4-BE49-F238E27FC236}">
                <a16:creationId xmlns:a16="http://schemas.microsoft.com/office/drawing/2014/main" id="{1840CBD0-0BEB-DC8F-CEF1-C001B4538665}"/>
              </a:ext>
            </a:extLst>
          </p:cNvPr>
          <p:cNvPicPr>
            <a:picLocks noChangeAspect="1"/>
          </p:cNvPicPr>
          <p:nvPr userDrawn="1"/>
        </p:nvPicPr>
        <p:blipFill>
          <a:blip r:embed="rId4" cstate="print">
            <a:lum bright="100000"/>
            <a:extLst>
              <a:ext uri="{28A0092B-C50C-407E-A947-70E740481C1C}">
                <a14:useLocalDpi xmlns:a14="http://schemas.microsoft.com/office/drawing/2010/main"/>
              </a:ext>
            </a:extLst>
          </a:blip>
          <a:stretch>
            <a:fillRect/>
          </a:stretch>
        </p:blipFill>
        <p:spPr bwMode="black">
          <a:xfrm>
            <a:off x="307975" y="6339127"/>
            <a:ext cx="933451" cy="199917"/>
          </a:xfrm>
          <a:prstGeom prst="rect">
            <a:avLst/>
          </a:prstGeom>
        </p:spPr>
      </p:pic>
      <p:sp>
        <p:nvSpPr>
          <p:cNvPr id="3" name="Text Placeholder 4">
            <a:extLst>
              <a:ext uri="{FF2B5EF4-FFF2-40B4-BE49-F238E27FC236}">
                <a16:creationId xmlns:a16="http://schemas.microsoft.com/office/drawing/2014/main" id="{F41303C3-84B6-E6CF-238B-40E4DFF45156}"/>
              </a:ext>
            </a:extLst>
          </p:cNvPr>
          <p:cNvSpPr>
            <a:spLocks noGrp="1"/>
          </p:cNvSpPr>
          <p:nvPr>
            <p:ph type="body" sz="quarter" idx="12" hasCustomPrompt="1"/>
          </p:nvPr>
        </p:nvSpPr>
        <p:spPr>
          <a:xfrm>
            <a:off x="525780" y="1697491"/>
            <a:ext cx="3434755" cy="246221"/>
          </a:xfrm>
          <a:noFill/>
        </p:spPr>
        <p:txBody>
          <a:bodyPr wrap="square" lIns="0" tIns="0" rIns="0" bIns="0">
            <a:spAutoFit/>
          </a:bodyPr>
          <a:lstStyle>
            <a:lvl1pPr marL="0" indent="0">
              <a:spcBef>
                <a:spcPts val="0"/>
              </a:spcBef>
              <a:buNone/>
              <a:defRPr sz="1600" spc="0" baseline="0">
                <a:solidFill>
                  <a:srgbClr val="FFFFFF"/>
                </a:solidFill>
                <a:latin typeface="+mn-lt"/>
                <a:cs typeface="Segoe Sans Display" pitchFamily="2" charset="0"/>
              </a:defRPr>
            </a:lvl1pPr>
          </a:lstStyle>
          <a:p>
            <a:pPr lvl="0"/>
            <a:r>
              <a:rPr lang="en-US"/>
              <a:t>Speaker name or subtitle text</a:t>
            </a:r>
          </a:p>
        </p:txBody>
      </p:sp>
      <p:sp>
        <p:nvSpPr>
          <p:cNvPr id="7" name="Text Placeholder 4">
            <a:extLst>
              <a:ext uri="{FF2B5EF4-FFF2-40B4-BE49-F238E27FC236}">
                <a16:creationId xmlns:a16="http://schemas.microsoft.com/office/drawing/2014/main" id="{27D2F62B-95C1-501A-9EAF-373FABE01165}"/>
              </a:ext>
            </a:extLst>
          </p:cNvPr>
          <p:cNvSpPr>
            <a:spLocks noGrp="1"/>
          </p:cNvSpPr>
          <p:nvPr>
            <p:ph type="body" sz="quarter" idx="13" hasCustomPrompt="1"/>
          </p:nvPr>
        </p:nvSpPr>
        <p:spPr>
          <a:xfrm>
            <a:off x="556260" y="919877"/>
            <a:ext cx="8242300" cy="646331"/>
          </a:xfrm>
          <a:noFill/>
        </p:spPr>
        <p:txBody>
          <a:bodyPr wrap="square" lIns="0" tIns="0" rIns="0" bIns="0">
            <a:spAutoFit/>
          </a:bodyPr>
          <a:lstStyle>
            <a:lvl1pPr marL="0" indent="0">
              <a:spcBef>
                <a:spcPts val="0"/>
              </a:spcBef>
              <a:buNone/>
              <a:defRPr sz="4200" b="0" spc="0" baseline="0">
                <a:gradFill>
                  <a:gsLst>
                    <a:gs pos="97248">
                      <a:schemeClr val="bg1"/>
                    </a:gs>
                    <a:gs pos="1835">
                      <a:srgbClr val="FFF3F9"/>
                    </a:gs>
                    <a:gs pos="36000">
                      <a:schemeClr val="accent2">
                        <a:lumMod val="20000"/>
                        <a:lumOff val="80000"/>
                      </a:schemeClr>
                    </a:gs>
                  </a:gsLst>
                  <a:lin ang="1800000" scaled="0"/>
                </a:gradFill>
                <a:latin typeface="Segoe UI Semibold" panose="020B0702040204020203" pitchFamily="34" charset="0"/>
                <a:cs typeface="Segoe UI Semibold" panose="020B0702040204020203" pitchFamily="34" charset="0"/>
              </a:defRPr>
            </a:lvl1pPr>
          </a:lstStyle>
          <a:p>
            <a:pPr lvl="0"/>
            <a:r>
              <a:rPr lang="en-US"/>
              <a:t>Title goes here</a:t>
            </a:r>
          </a:p>
        </p:txBody>
      </p:sp>
    </p:spTree>
    <p:extLst>
      <p:ext uri="{BB962C8B-B14F-4D97-AF65-F5344CB8AC3E}">
        <p14:creationId xmlns:p14="http://schemas.microsoft.com/office/powerpoint/2010/main" val="2254502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880532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252D4AA-19DA-243F-2A37-88B1765E7DE3}"/>
              </a:ext>
            </a:extLst>
          </p:cNvPr>
          <p:cNvPicPr>
            <a:picLocks noChangeAspect="1"/>
          </p:cNvPicPr>
          <p:nvPr userDrawn="1"/>
        </p:nvPicPr>
        <p:blipFill>
          <a:blip r:embed="rId2">
            <a:alphaModFix amt="85000"/>
          </a:blip>
          <a:srcRect l="6564" t="25562" r="25961" b="6962"/>
          <a:stretch>
            <a:fillRect/>
          </a:stretch>
        </p:blipFill>
        <p:spPr>
          <a:xfrm>
            <a:off x="-1" y="-1"/>
            <a:ext cx="12192001" cy="6858001"/>
          </a:xfrm>
          <a:prstGeom prst="rect">
            <a:avLst/>
          </a:prstGeom>
        </p:spPr>
      </p:pic>
      <p:sp>
        <p:nvSpPr>
          <p:cNvPr id="5" name="Text Placeholder 4"/>
          <p:cNvSpPr>
            <a:spLocks noGrp="1"/>
          </p:cNvSpPr>
          <p:nvPr>
            <p:ph type="body" sz="quarter" idx="12" hasCustomPrompt="1"/>
          </p:nvPr>
        </p:nvSpPr>
        <p:spPr>
          <a:xfrm>
            <a:off x="571500" y="6287997"/>
            <a:ext cx="3434755" cy="246221"/>
          </a:xfrm>
          <a:noFill/>
        </p:spPr>
        <p:txBody>
          <a:bodyPr wrap="square" lIns="0" tIns="0" rIns="0" bIns="0">
            <a:spAutoFit/>
          </a:bodyPr>
          <a:lstStyle>
            <a:lvl1pPr marL="0" indent="0">
              <a:spcBef>
                <a:spcPts val="0"/>
              </a:spcBef>
              <a:buNone/>
              <a:defRPr sz="1600" spc="0" baseline="0">
                <a:solidFill>
                  <a:srgbClr val="FFFFFF"/>
                </a:solidFill>
                <a:latin typeface="+mn-lt"/>
                <a:cs typeface="Segoe Sans Display" pitchFamily="2" charset="0"/>
              </a:defRPr>
            </a:lvl1pPr>
          </a:lstStyle>
          <a:p>
            <a:pPr lvl="0"/>
            <a:r>
              <a:rPr lang="en-US"/>
              <a:t>Speaker name or subtitle text</a:t>
            </a:r>
          </a:p>
        </p:txBody>
      </p:sp>
      <p:sp>
        <p:nvSpPr>
          <p:cNvPr id="4" name="TextBox 3">
            <a:extLst>
              <a:ext uri="{FF2B5EF4-FFF2-40B4-BE49-F238E27FC236}">
                <a16:creationId xmlns:a16="http://schemas.microsoft.com/office/drawing/2014/main" id="{9AC917CB-0B4D-F51B-F63A-7A5124A9A0F1}"/>
              </a:ext>
            </a:extLst>
          </p:cNvPr>
          <p:cNvSpPr txBox="1"/>
          <p:nvPr userDrawn="1"/>
        </p:nvSpPr>
        <p:spPr>
          <a:xfrm>
            <a:off x="571499" y="5063659"/>
            <a:ext cx="3273552"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Sans Display"/>
                <a:ea typeface="+mn-ea"/>
                <a:cs typeface="+mn-cs"/>
              </a:rPr>
              <a:t>Agent 365</a:t>
            </a:r>
          </a:p>
        </p:txBody>
      </p:sp>
      <p:pic>
        <p:nvPicPr>
          <p:cNvPr id="11" name="Picture 10">
            <a:extLst>
              <a:ext uri="{FF2B5EF4-FFF2-40B4-BE49-F238E27FC236}">
                <a16:creationId xmlns:a16="http://schemas.microsoft.com/office/drawing/2014/main" id="{E4369DED-C10F-672A-B940-B2BF06491EB3}"/>
              </a:ext>
            </a:extLst>
          </p:cNvPr>
          <p:cNvPicPr>
            <a:picLocks noChangeAspect="1"/>
          </p:cNvPicPr>
          <p:nvPr userDrawn="1"/>
        </p:nvPicPr>
        <p:blipFill>
          <a:blip r:embed="rId3"/>
          <a:stretch>
            <a:fillRect/>
          </a:stretch>
        </p:blipFill>
        <p:spPr>
          <a:xfrm>
            <a:off x="-609685" y="0"/>
            <a:ext cx="609685" cy="1676634"/>
          </a:xfrm>
          <a:prstGeom prst="rect">
            <a:avLst/>
          </a:prstGeom>
        </p:spPr>
      </p:pic>
      <p:pic>
        <p:nvPicPr>
          <p:cNvPr id="2" name="MS logo white - EMF" descr="Microsoft logo white text version">
            <a:extLst>
              <a:ext uri="{FF2B5EF4-FFF2-40B4-BE49-F238E27FC236}">
                <a16:creationId xmlns:a16="http://schemas.microsoft.com/office/drawing/2014/main" id="{0D4BAB47-034B-4242-14E1-A133DA9DC6B7}"/>
              </a:ext>
            </a:extLst>
          </p:cNvPr>
          <p:cNvPicPr>
            <a:picLocks noChangeAspect="1"/>
          </p:cNvPicPr>
          <p:nvPr userDrawn="1"/>
        </p:nvPicPr>
        <p:blipFill>
          <a:blip r:embed="rId4" cstate="print">
            <a:lum bright="100000"/>
            <a:extLst>
              <a:ext uri="{28A0092B-C50C-407E-A947-70E740481C1C}">
                <a14:useLocalDpi xmlns:a14="http://schemas.microsoft.com/office/drawing/2010/main"/>
              </a:ext>
            </a:extLst>
          </a:blip>
          <a:stretch>
            <a:fillRect/>
          </a:stretch>
        </p:blipFill>
        <p:spPr bwMode="black">
          <a:xfrm>
            <a:off x="238125" y="223823"/>
            <a:ext cx="933451" cy="199917"/>
          </a:xfrm>
          <a:prstGeom prst="rect">
            <a:avLst/>
          </a:prstGeom>
        </p:spPr>
      </p:pic>
      <p:sp>
        <p:nvSpPr>
          <p:cNvPr id="12" name="Text Placeholder 4">
            <a:extLst>
              <a:ext uri="{FF2B5EF4-FFF2-40B4-BE49-F238E27FC236}">
                <a16:creationId xmlns:a16="http://schemas.microsoft.com/office/drawing/2014/main" id="{45AC59D3-C7B6-2EE9-893B-EF29380AD96C}"/>
              </a:ext>
            </a:extLst>
          </p:cNvPr>
          <p:cNvSpPr>
            <a:spLocks noGrp="1"/>
          </p:cNvSpPr>
          <p:nvPr>
            <p:ph type="body" sz="quarter" idx="13" hasCustomPrompt="1"/>
          </p:nvPr>
        </p:nvSpPr>
        <p:spPr>
          <a:xfrm>
            <a:off x="571500" y="5556103"/>
            <a:ext cx="8242300" cy="646331"/>
          </a:xfrm>
          <a:noFill/>
        </p:spPr>
        <p:txBody>
          <a:bodyPr wrap="square" lIns="0" tIns="0" rIns="0" bIns="0">
            <a:spAutoFit/>
          </a:bodyPr>
          <a:lstStyle>
            <a:lvl1pPr marL="0" indent="0">
              <a:spcBef>
                <a:spcPts val="0"/>
              </a:spcBef>
              <a:buNone/>
              <a:defRPr sz="4200" b="0" spc="0" baseline="0">
                <a:gradFill>
                  <a:gsLst>
                    <a:gs pos="97248">
                      <a:schemeClr val="bg1"/>
                    </a:gs>
                    <a:gs pos="1835">
                      <a:srgbClr val="FFF3F9"/>
                    </a:gs>
                    <a:gs pos="36000">
                      <a:schemeClr val="accent2">
                        <a:lumMod val="20000"/>
                        <a:lumOff val="80000"/>
                      </a:schemeClr>
                    </a:gs>
                  </a:gsLst>
                  <a:lin ang="1800000" scaled="0"/>
                </a:gradFill>
                <a:latin typeface="Segoe UI Semibold" panose="020B0702040204020203" pitchFamily="34" charset="0"/>
                <a:cs typeface="Segoe UI Semibold" panose="020B0702040204020203" pitchFamily="34" charset="0"/>
              </a:defRPr>
            </a:lvl1pPr>
          </a:lstStyle>
          <a:p>
            <a:pPr lvl="0"/>
            <a:r>
              <a:rPr lang="en-US"/>
              <a:t>Title goes here</a:t>
            </a:r>
          </a:p>
        </p:txBody>
      </p:sp>
    </p:spTree>
    <p:extLst>
      <p:ext uri="{BB962C8B-B14F-4D97-AF65-F5344CB8AC3E}">
        <p14:creationId xmlns:p14="http://schemas.microsoft.com/office/powerpoint/2010/main" val="13977749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with replaceable image">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4BB602E-4FCD-3E0C-6B56-C0C5470FE7E5}"/>
              </a:ext>
            </a:extLst>
          </p:cNvPr>
          <p:cNvPicPr>
            <a:picLocks noChangeAspect="1"/>
          </p:cNvPicPr>
          <p:nvPr userDrawn="1"/>
        </p:nvPicPr>
        <p:blipFill>
          <a:blip r:embed="rId2">
            <a:alphaModFix/>
          </a:blip>
          <a:srcRect l="24140" t="23350" r="24140" b="24930"/>
          <a:stretch>
            <a:fillRect/>
          </a:stretch>
        </p:blipFill>
        <p:spPr>
          <a:xfrm>
            <a:off x="0" y="0"/>
            <a:ext cx="12192000" cy="6858000"/>
          </a:xfrm>
          <a:prstGeom prst="rect">
            <a:avLst/>
          </a:prstGeom>
        </p:spPr>
      </p:pic>
      <p:sp>
        <p:nvSpPr>
          <p:cNvPr id="7" name="Rectangle: Rounded Corners 6">
            <a:extLst>
              <a:ext uri="{FF2B5EF4-FFF2-40B4-BE49-F238E27FC236}">
                <a16:creationId xmlns:a16="http://schemas.microsoft.com/office/drawing/2014/main" id="{42460BAC-D617-BE33-F77B-EAA6ED8D84E9}"/>
              </a:ext>
            </a:extLst>
          </p:cNvPr>
          <p:cNvSpPr/>
          <p:nvPr userDrawn="1"/>
        </p:nvSpPr>
        <p:spPr bwMode="auto">
          <a:xfrm>
            <a:off x="116114" y="103756"/>
            <a:ext cx="5573486" cy="6633633"/>
          </a:xfrm>
          <a:prstGeom prst="roundRect">
            <a:avLst>
              <a:gd name="adj" fmla="val 3255"/>
            </a:avLst>
          </a:prstGeom>
          <a:gradFill>
            <a:gsLst>
              <a:gs pos="0">
                <a:srgbClr val="FECBE6">
                  <a:alpha val="22000"/>
                </a:srgbClr>
              </a:gs>
              <a:gs pos="19000">
                <a:srgbClr val="BABAFF"/>
              </a:gs>
              <a:gs pos="40000">
                <a:srgbClr val="58AAFE"/>
              </a:gs>
              <a:gs pos="93000">
                <a:srgbClr val="1B45B3">
                  <a:alpha val="70000"/>
                </a:srgbClr>
              </a:gs>
              <a:gs pos="69000">
                <a:srgbClr val="2764E7">
                  <a:alpha val="70000"/>
                </a:srgbClr>
              </a:gs>
              <a:gs pos="57000">
                <a:srgbClr val="4894FE">
                  <a:alpha val="91000"/>
                </a:srgb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584200" y="1537397"/>
            <a:ext cx="44958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ubtitle text</a:t>
            </a:r>
          </a:p>
        </p:txBody>
      </p:sp>
      <p:sp>
        <p:nvSpPr>
          <p:cNvPr id="6" name="TextBox 5">
            <a:extLst>
              <a:ext uri="{FF2B5EF4-FFF2-40B4-BE49-F238E27FC236}">
                <a16:creationId xmlns:a16="http://schemas.microsoft.com/office/drawing/2014/main" id="{9AD5DAB8-D3DC-9D2E-ADA8-046EF3DF1964}"/>
              </a:ext>
            </a:extLst>
          </p:cNvPr>
          <p:cNvSpPr txBox="1"/>
          <p:nvPr userDrawn="1"/>
        </p:nvSpPr>
        <p:spPr>
          <a:xfrm>
            <a:off x="584200" y="486303"/>
            <a:ext cx="327355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Sans Display"/>
                <a:ea typeface="+mn-ea"/>
                <a:cs typeface="+mn-cs"/>
              </a:rPr>
              <a:t>Agent 365</a:t>
            </a:r>
          </a:p>
        </p:txBody>
      </p:sp>
      <p:sp>
        <p:nvSpPr>
          <p:cNvPr id="4" name="Text Placeholder 4">
            <a:extLst>
              <a:ext uri="{FF2B5EF4-FFF2-40B4-BE49-F238E27FC236}">
                <a16:creationId xmlns:a16="http://schemas.microsoft.com/office/drawing/2014/main" id="{18B58C7E-76C3-10C6-650F-304E67FEE8A7}"/>
              </a:ext>
            </a:extLst>
          </p:cNvPr>
          <p:cNvSpPr>
            <a:spLocks noGrp="1"/>
          </p:cNvSpPr>
          <p:nvPr>
            <p:ph type="body" sz="quarter" idx="14" hasCustomPrompt="1"/>
          </p:nvPr>
        </p:nvSpPr>
        <p:spPr>
          <a:xfrm>
            <a:off x="584201" y="805503"/>
            <a:ext cx="4495799" cy="646331"/>
          </a:xfrm>
          <a:noFill/>
        </p:spPr>
        <p:txBody>
          <a:bodyPr wrap="square" lIns="0" tIns="0" rIns="0" bIns="0">
            <a:spAutoFit/>
          </a:bodyPr>
          <a:lstStyle>
            <a:lvl1pPr marL="0" indent="0">
              <a:spcBef>
                <a:spcPts val="0"/>
              </a:spcBef>
              <a:buNone/>
              <a:defRPr sz="4200" b="0" spc="0" baseline="0">
                <a:solidFill>
                  <a:schemeClr val="bg1"/>
                </a:solidFill>
                <a:latin typeface="Segoe UI Semibold" panose="020B0702040204020203" pitchFamily="34" charset="0"/>
                <a:cs typeface="Segoe UI Semibold" panose="020B0702040204020203" pitchFamily="34" charset="0"/>
              </a:defRPr>
            </a:lvl1pPr>
          </a:lstStyle>
          <a:p>
            <a:pPr lvl="0"/>
            <a:r>
              <a:rPr lang="en-US"/>
              <a:t>Title goes here</a:t>
            </a:r>
          </a:p>
        </p:txBody>
      </p:sp>
    </p:spTree>
    <p:extLst>
      <p:ext uri="{BB962C8B-B14F-4D97-AF65-F5344CB8AC3E}">
        <p14:creationId xmlns:p14="http://schemas.microsoft.com/office/powerpoint/2010/main" val="743083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Slide with replaceable image">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4BB602E-4FCD-3E0C-6B56-C0C5470FE7E5}"/>
              </a:ext>
            </a:extLst>
          </p:cNvPr>
          <p:cNvPicPr>
            <a:picLocks noChangeAspect="1"/>
          </p:cNvPicPr>
          <p:nvPr userDrawn="1"/>
        </p:nvPicPr>
        <p:blipFill>
          <a:blip r:embed="rId2">
            <a:alphaModFix/>
          </a:blip>
          <a:srcRect l="24140" t="23350" r="24140" b="24930"/>
          <a:stretch>
            <a:fillRect/>
          </a:stretch>
        </p:blipFill>
        <p:spPr>
          <a:xfrm>
            <a:off x="0" y="0"/>
            <a:ext cx="12192000" cy="6858000"/>
          </a:xfrm>
          <a:prstGeom prst="rect">
            <a:avLst/>
          </a:prstGeom>
        </p:spPr>
      </p:pic>
      <p:sp>
        <p:nvSpPr>
          <p:cNvPr id="7" name="Rectangle: Rounded Corners 6">
            <a:extLst>
              <a:ext uri="{FF2B5EF4-FFF2-40B4-BE49-F238E27FC236}">
                <a16:creationId xmlns:a16="http://schemas.microsoft.com/office/drawing/2014/main" id="{42460BAC-D617-BE33-F77B-EAA6ED8D84E9}"/>
              </a:ext>
            </a:extLst>
          </p:cNvPr>
          <p:cNvSpPr/>
          <p:nvPr userDrawn="1"/>
        </p:nvSpPr>
        <p:spPr bwMode="auto">
          <a:xfrm>
            <a:off x="314325" y="859952"/>
            <a:ext cx="11563350" cy="5138097"/>
          </a:xfrm>
          <a:prstGeom prst="roundRect">
            <a:avLst>
              <a:gd name="adj" fmla="val 3255"/>
            </a:avLst>
          </a:prstGeom>
          <a:gradFill>
            <a:gsLst>
              <a:gs pos="100000">
                <a:schemeClr val="tx2">
                  <a:alpha val="60000"/>
                </a:schemeClr>
              </a:gs>
              <a:gs pos="0">
                <a:srgbClr val="BABAFF"/>
              </a:gs>
              <a:gs pos="74000">
                <a:schemeClr val="accent4">
                  <a:lumMod val="25000"/>
                  <a:alpha val="90000"/>
                </a:schemeClr>
              </a:gs>
              <a:gs pos="29000">
                <a:srgbClr val="2764E7">
                  <a:alpha val="90000"/>
                </a:srgb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3" name="TextBox 2">
            <a:extLst>
              <a:ext uri="{FF2B5EF4-FFF2-40B4-BE49-F238E27FC236}">
                <a16:creationId xmlns:a16="http://schemas.microsoft.com/office/drawing/2014/main" id="{914B4ADE-B716-8419-E58B-9E81C59E596E}"/>
              </a:ext>
            </a:extLst>
          </p:cNvPr>
          <p:cNvSpPr txBox="1"/>
          <p:nvPr userDrawn="1"/>
        </p:nvSpPr>
        <p:spPr>
          <a:xfrm>
            <a:off x="976313" y="2133321"/>
            <a:ext cx="10515600" cy="409958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3600" b="0" i="0" u="none" strike="noStrike" kern="1200" cap="none" spc="0" normalizeH="0" baseline="0" noProof="0">
                <a:ln w="3175">
                  <a:noFill/>
                </a:ln>
                <a:solidFill>
                  <a:srgbClr val="FFFFFF"/>
                </a:solidFill>
                <a:effectLst/>
                <a:uLnTx/>
                <a:uFillTx/>
                <a:latin typeface="Segoe UI"/>
                <a:ea typeface="+mn-ea"/>
                <a:cs typeface="Segoe UI"/>
              </a:rPr>
              <a:t>Agent 365 will accelerate the transformation into a frontier firm by enabling</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3600" b="1" i="0" u="none" strike="noStrike" kern="1200" cap="none" spc="0" normalizeH="0" baseline="0" noProof="0">
                <a:ln w="3175">
                  <a:noFill/>
                </a:ln>
                <a:solidFill>
                  <a:srgbClr val="FFFFFF"/>
                </a:solidFill>
                <a:effectLst/>
                <a:uLnTx/>
                <a:uFillTx/>
                <a:latin typeface="Segoe UI"/>
                <a:ea typeface="+mn-ea"/>
                <a:cs typeface="Segoe UI"/>
              </a:rPr>
              <a:t>a digital workforce that earns trust and securely works in the tools people use every day.</a:t>
            </a:r>
          </a:p>
          <a:p>
            <a:pPr marL="137160" marR="0" lvl="0" indent="-137160" algn="ctr"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3600" b="0" i="0" u="none" strike="noStrike" kern="120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endParaRPr>
          </a:p>
          <a:p>
            <a:pPr marL="137160" marR="0" lvl="0" indent="-137160" algn="ctr"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3600" b="0" i="0" u="none" strike="noStrike" kern="120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endParaRPr>
          </a:p>
          <a:p>
            <a:pPr algn="l"/>
            <a:endParaRPr lang="en-US" sz="3600" err="1"/>
          </a:p>
        </p:txBody>
      </p:sp>
    </p:spTree>
    <p:extLst>
      <p:ext uri="{BB962C8B-B14F-4D97-AF65-F5344CB8AC3E}">
        <p14:creationId xmlns:p14="http://schemas.microsoft.com/office/powerpoint/2010/main" val="1132323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_Title Slide with replaceable image">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4BB602E-4FCD-3E0C-6B56-C0C5470FE7E5}"/>
              </a:ext>
            </a:extLst>
          </p:cNvPr>
          <p:cNvPicPr>
            <a:picLocks noChangeAspect="1"/>
          </p:cNvPicPr>
          <p:nvPr userDrawn="1"/>
        </p:nvPicPr>
        <p:blipFill>
          <a:blip r:embed="rId2">
            <a:alphaModFix/>
          </a:blip>
          <a:srcRect l="24140" t="23350" r="24140" b="24930"/>
          <a:stretch>
            <a:fillRect/>
          </a:stretch>
        </p:blipFill>
        <p:spPr>
          <a:xfrm>
            <a:off x="0" y="0"/>
            <a:ext cx="12192000" cy="6858000"/>
          </a:xfrm>
          <a:prstGeom prst="rect">
            <a:avLst/>
          </a:prstGeom>
        </p:spPr>
      </p:pic>
      <p:sp>
        <p:nvSpPr>
          <p:cNvPr id="7" name="Rectangle: Rounded Corners 6">
            <a:extLst>
              <a:ext uri="{FF2B5EF4-FFF2-40B4-BE49-F238E27FC236}">
                <a16:creationId xmlns:a16="http://schemas.microsoft.com/office/drawing/2014/main" id="{42460BAC-D617-BE33-F77B-EAA6ED8D84E9}"/>
              </a:ext>
            </a:extLst>
          </p:cNvPr>
          <p:cNvSpPr/>
          <p:nvPr userDrawn="1"/>
        </p:nvSpPr>
        <p:spPr bwMode="auto">
          <a:xfrm>
            <a:off x="428625" y="859951"/>
            <a:ext cx="11563350" cy="5138097"/>
          </a:xfrm>
          <a:prstGeom prst="roundRect">
            <a:avLst>
              <a:gd name="adj" fmla="val 3255"/>
            </a:avLst>
          </a:prstGeom>
          <a:gradFill>
            <a:gsLst>
              <a:gs pos="100000">
                <a:schemeClr val="tx2">
                  <a:alpha val="60000"/>
                </a:schemeClr>
              </a:gs>
              <a:gs pos="0">
                <a:srgbClr val="BABAFF"/>
              </a:gs>
              <a:gs pos="74000">
                <a:schemeClr val="accent4">
                  <a:lumMod val="25000"/>
                  <a:alpha val="90000"/>
                </a:schemeClr>
              </a:gs>
              <a:gs pos="29000">
                <a:srgbClr val="2764E7">
                  <a:alpha val="90000"/>
                </a:srgb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246021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2554596-C98F-B9B0-C809-6AE87209CEE7}"/>
              </a:ext>
            </a:extLst>
          </p:cNvPr>
          <p:cNvPicPr>
            <a:picLocks noChangeAspect="1"/>
          </p:cNvPicPr>
          <p:nvPr userDrawn="1"/>
        </p:nvPicPr>
        <p:blipFill>
          <a:blip r:embed="rId2"/>
          <a:srcRect t="13391" r="26885" b="13532"/>
          <a:stretch>
            <a:fillRect/>
          </a:stretch>
        </p:blipFill>
        <p:spPr>
          <a:xfrm>
            <a:off x="-1" y="0"/>
            <a:ext cx="12192001" cy="6858000"/>
          </a:xfrm>
          <a:prstGeom prst="rect">
            <a:avLst/>
          </a:prstGeom>
        </p:spPr>
      </p:pic>
      <p:sp>
        <p:nvSpPr>
          <p:cNvPr id="14" name="Rectangle: Rounded Corners 13">
            <a:extLst>
              <a:ext uri="{FF2B5EF4-FFF2-40B4-BE49-F238E27FC236}">
                <a16:creationId xmlns:a16="http://schemas.microsoft.com/office/drawing/2014/main" id="{427934E1-C028-93AC-2F50-0A8087092388}"/>
              </a:ext>
            </a:extLst>
          </p:cNvPr>
          <p:cNvSpPr/>
          <p:nvPr userDrawn="1"/>
        </p:nvSpPr>
        <p:spPr bwMode="auto">
          <a:xfrm>
            <a:off x="85634" y="112183"/>
            <a:ext cx="5573486" cy="6633633"/>
          </a:xfrm>
          <a:prstGeom prst="roundRect">
            <a:avLst>
              <a:gd name="adj" fmla="val 3255"/>
            </a:avLst>
          </a:prstGeom>
          <a:gradFill>
            <a:gsLst>
              <a:gs pos="0">
                <a:srgbClr val="FECBE6">
                  <a:alpha val="60000"/>
                </a:srgbClr>
              </a:gs>
              <a:gs pos="33000">
                <a:srgbClr val="BABAFF">
                  <a:alpha val="60000"/>
                </a:srgbClr>
              </a:gs>
              <a:gs pos="66000">
                <a:schemeClr val="accent6">
                  <a:lumMod val="25000"/>
                  <a:lumOff val="75000"/>
                  <a:alpha val="60000"/>
                </a:schemeClr>
              </a:gs>
              <a:gs pos="98165">
                <a:schemeClr val="bg1">
                  <a:alpha val="60000"/>
                </a:schemeClr>
              </a:gs>
            </a:gsLst>
            <a:lin ang="15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pic>
        <p:nvPicPr>
          <p:cNvPr id="10" name="Picture 9">
            <a:extLst>
              <a:ext uri="{FF2B5EF4-FFF2-40B4-BE49-F238E27FC236}">
                <a16:creationId xmlns:a16="http://schemas.microsoft.com/office/drawing/2014/main" id="{F2AF7DE4-0CDB-A926-8AE7-A4F149BB9A7B}"/>
              </a:ext>
            </a:extLst>
          </p:cNvPr>
          <p:cNvPicPr>
            <a:picLocks noChangeAspect="1"/>
          </p:cNvPicPr>
          <p:nvPr userDrawn="1"/>
        </p:nvPicPr>
        <p:blipFill>
          <a:blip r:embed="rId3"/>
          <a:stretch>
            <a:fillRect/>
          </a:stretch>
        </p:blipFill>
        <p:spPr>
          <a:xfrm>
            <a:off x="-2209800" y="1358955"/>
            <a:ext cx="609685" cy="1676634"/>
          </a:xfrm>
          <a:prstGeom prst="rect">
            <a:avLst/>
          </a:prstGeom>
        </p:spPr>
      </p:pic>
      <p:sp>
        <p:nvSpPr>
          <p:cNvPr id="11" name="Title 1">
            <a:extLst>
              <a:ext uri="{FF2B5EF4-FFF2-40B4-BE49-F238E27FC236}">
                <a16:creationId xmlns:a16="http://schemas.microsoft.com/office/drawing/2014/main" id="{CD66D021-5D82-84DF-DEB9-0288EB483318}"/>
              </a:ext>
            </a:extLst>
          </p:cNvPr>
          <p:cNvSpPr txBox="1">
            <a:spLocks/>
          </p:cNvSpPr>
          <p:nvPr userDrawn="1"/>
        </p:nvSpPr>
        <p:spPr>
          <a:xfrm>
            <a:off x="467180" y="979039"/>
            <a:ext cx="525235" cy="400110"/>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2600" b="0" kern="1200" cap="none" spc="-50" baseline="0">
                <a:ln w="3175">
                  <a:noFill/>
                </a:ln>
                <a:solidFill>
                  <a:schemeClr val="tx2"/>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600" b="0" i="0" u="none" strike="noStrike" kern="1200" cap="none" spc="-50" normalizeH="0" baseline="0" noProof="0">
                <a:ln w="3175">
                  <a:noFill/>
                </a:ln>
                <a:solidFill>
                  <a:srgbClr val="2764E7"/>
                </a:solidFill>
                <a:effectLst/>
                <a:uLnTx/>
                <a:uFillTx/>
                <a:latin typeface="Segoe Sans Display Semibold"/>
                <a:ea typeface="+mn-ea"/>
                <a:cs typeface="Segoe Sans Display" pitchFamily="2" charset="0"/>
              </a:rPr>
              <a:t>1</a:t>
            </a:r>
          </a:p>
        </p:txBody>
      </p:sp>
      <p:sp>
        <p:nvSpPr>
          <p:cNvPr id="15" name="Title 1">
            <a:extLst>
              <a:ext uri="{FF2B5EF4-FFF2-40B4-BE49-F238E27FC236}">
                <a16:creationId xmlns:a16="http://schemas.microsoft.com/office/drawing/2014/main" id="{4B441AAE-1A52-EE29-03A8-16C1AA4908B0}"/>
              </a:ext>
            </a:extLst>
          </p:cNvPr>
          <p:cNvSpPr txBox="1">
            <a:spLocks/>
          </p:cNvSpPr>
          <p:nvPr userDrawn="1"/>
        </p:nvSpPr>
        <p:spPr>
          <a:xfrm>
            <a:off x="446315" y="1669361"/>
            <a:ext cx="525235" cy="400110"/>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2600" b="0" kern="1200" cap="none" spc="-50" baseline="0">
                <a:ln w="3175">
                  <a:noFill/>
                </a:ln>
                <a:solidFill>
                  <a:schemeClr val="tx2"/>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600" b="0" i="0" u="none" strike="noStrike" kern="1200" cap="none" spc="-50" normalizeH="0" baseline="0" noProof="0">
                <a:ln w="3175">
                  <a:noFill/>
                </a:ln>
                <a:solidFill>
                  <a:srgbClr val="2764E7"/>
                </a:solidFill>
                <a:effectLst/>
                <a:uLnTx/>
                <a:uFillTx/>
                <a:latin typeface="Segoe Sans Display Semibold"/>
                <a:ea typeface="+mn-ea"/>
                <a:cs typeface="Segoe Sans Display" pitchFamily="2" charset="0"/>
              </a:rPr>
              <a:t>2</a:t>
            </a:r>
          </a:p>
        </p:txBody>
      </p:sp>
      <p:sp>
        <p:nvSpPr>
          <p:cNvPr id="17" name="Title 1">
            <a:extLst>
              <a:ext uri="{FF2B5EF4-FFF2-40B4-BE49-F238E27FC236}">
                <a16:creationId xmlns:a16="http://schemas.microsoft.com/office/drawing/2014/main" id="{852C7AED-8279-5187-C91C-07D7E0905B33}"/>
              </a:ext>
            </a:extLst>
          </p:cNvPr>
          <p:cNvSpPr txBox="1">
            <a:spLocks/>
          </p:cNvSpPr>
          <p:nvPr userDrawn="1"/>
        </p:nvSpPr>
        <p:spPr>
          <a:xfrm>
            <a:off x="446315" y="2365372"/>
            <a:ext cx="525235" cy="400110"/>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2600" b="0" kern="1200" cap="none" spc="-50" baseline="0">
                <a:ln w="3175">
                  <a:noFill/>
                </a:ln>
                <a:solidFill>
                  <a:schemeClr val="tx2"/>
                </a:solidFill>
                <a:effectLst/>
                <a:latin typeface="+mj-lt"/>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600" b="0" i="0" u="none" strike="noStrike" kern="1200" cap="none" spc="-50" normalizeH="0" baseline="0" noProof="0">
                <a:ln w="3175">
                  <a:noFill/>
                </a:ln>
                <a:solidFill>
                  <a:srgbClr val="2764E7"/>
                </a:solidFill>
                <a:effectLst/>
                <a:uLnTx/>
                <a:uFillTx/>
                <a:latin typeface="Segoe Sans Display Semibold"/>
                <a:ea typeface="+mn-ea"/>
                <a:cs typeface="Segoe Sans Display" pitchFamily="2" charset="0"/>
              </a:rPr>
              <a:t>3</a:t>
            </a:r>
          </a:p>
        </p:txBody>
      </p:sp>
      <p:sp>
        <p:nvSpPr>
          <p:cNvPr id="2" name="Text Placeholder 4">
            <a:extLst>
              <a:ext uri="{FF2B5EF4-FFF2-40B4-BE49-F238E27FC236}">
                <a16:creationId xmlns:a16="http://schemas.microsoft.com/office/drawing/2014/main" id="{B1E9299B-D1E1-ECCF-4335-2297C6D0212F}"/>
              </a:ext>
            </a:extLst>
          </p:cNvPr>
          <p:cNvSpPr>
            <a:spLocks noGrp="1"/>
          </p:cNvSpPr>
          <p:nvPr>
            <p:ph type="body" sz="quarter" idx="12" hasCustomPrompt="1"/>
          </p:nvPr>
        </p:nvSpPr>
        <p:spPr>
          <a:xfrm>
            <a:off x="467180" y="295176"/>
            <a:ext cx="3434755" cy="492443"/>
          </a:xfrm>
          <a:noFill/>
        </p:spPr>
        <p:txBody>
          <a:bodyPr wrap="square" lIns="0" tIns="0" rIns="0" bIns="0">
            <a:spAutoFit/>
          </a:bodyPr>
          <a:lstStyle>
            <a:lvl1pPr marL="0" indent="0">
              <a:spcBef>
                <a:spcPts val="0"/>
              </a:spcBef>
              <a:buNone/>
              <a:defRPr sz="3200" spc="0" baseline="0">
                <a:solidFill>
                  <a:srgbClr val="1A41AB"/>
                </a:solidFill>
                <a:latin typeface="Segoe UI Semibold" panose="020B0702040204020203" pitchFamily="34" charset="0"/>
                <a:cs typeface="Segoe UI Semibold" panose="020B0702040204020203" pitchFamily="34" charset="0"/>
              </a:defRPr>
            </a:lvl1pPr>
          </a:lstStyle>
          <a:p>
            <a:pPr lvl="0"/>
            <a:r>
              <a:rPr lang="en-US"/>
              <a:t>Agenda</a:t>
            </a:r>
          </a:p>
        </p:txBody>
      </p:sp>
      <p:sp>
        <p:nvSpPr>
          <p:cNvPr id="3" name="Text Placeholder 4">
            <a:extLst>
              <a:ext uri="{FF2B5EF4-FFF2-40B4-BE49-F238E27FC236}">
                <a16:creationId xmlns:a16="http://schemas.microsoft.com/office/drawing/2014/main" id="{4F9A2490-5774-E4E6-AD3C-10A2EFD8A5DD}"/>
              </a:ext>
            </a:extLst>
          </p:cNvPr>
          <p:cNvSpPr>
            <a:spLocks noGrp="1"/>
          </p:cNvSpPr>
          <p:nvPr>
            <p:ph type="body" sz="quarter" idx="13" hasCustomPrompt="1"/>
          </p:nvPr>
        </p:nvSpPr>
        <p:spPr>
          <a:xfrm>
            <a:off x="808859" y="1020401"/>
            <a:ext cx="3434755" cy="338554"/>
          </a:xfrm>
          <a:noFill/>
        </p:spPr>
        <p:txBody>
          <a:bodyPr wrap="square" lIns="0" tIns="0" rIns="0" bIns="0">
            <a:spAutoFit/>
          </a:bodyPr>
          <a:lstStyle>
            <a:lvl1pPr marL="0" indent="0">
              <a:spcBef>
                <a:spcPts val="0"/>
              </a:spcBef>
              <a:buNone/>
              <a:defRPr sz="2200" spc="0" baseline="0">
                <a:solidFill>
                  <a:srgbClr val="1A41AB"/>
                </a:solidFill>
                <a:latin typeface="Segoe UI Semibold" panose="020B0702040204020203" pitchFamily="34" charset="0"/>
                <a:cs typeface="Segoe UI Semibold" panose="020B0702040204020203" pitchFamily="34" charset="0"/>
              </a:defRPr>
            </a:lvl1pPr>
          </a:lstStyle>
          <a:p>
            <a:pPr lvl="0"/>
            <a:r>
              <a:rPr lang="en-US"/>
              <a:t>Item 1</a:t>
            </a:r>
          </a:p>
        </p:txBody>
      </p:sp>
      <p:sp>
        <p:nvSpPr>
          <p:cNvPr id="4" name="Text Placeholder 4">
            <a:extLst>
              <a:ext uri="{FF2B5EF4-FFF2-40B4-BE49-F238E27FC236}">
                <a16:creationId xmlns:a16="http://schemas.microsoft.com/office/drawing/2014/main" id="{BE2A8A46-2639-A2B3-A581-C8F0B09DBFDE}"/>
              </a:ext>
            </a:extLst>
          </p:cNvPr>
          <p:cNvSpPr>
            <a:spLocks noGrp="1"/>
          </p:cNvSpPr>
          <p:nvPr>
            <p:ph type="body" sz="quarter" idx="14" hasCustomPrompt="1"/>
          </p:nvPr>
        </p:nvSpPr>
        <p:spPr>
          <a:xfrm>
            <a:off x="808859" y="1730917"/>
            <a:ext cx="3434755" cy="338554"/>
          </a:xfrm>
          <a:noFill/>
        </p:spPr>
        <p:txBody>
          <a:bodyPr wrap="square" lIns="0" tIns="0" rIns="0" bIns="0">
            <a:spAutoFit/>
          </a:bodyPr>
          <a:lstStyle>
            <a:lvl1pPr marL="0" indent="0">
              <a:spcBef>
                <a:spcPts val="0"/>
              </a:spcBef>
              <a:buNone/>
              <a:defRPr sz="2200" spc="0" baseline="0">
                <a:solidFill>
                  <a:srgbClr val="1A41AB"/>
                </a:solidFill>
                <a:latin typeface="Segoe UI Semibold" panose="020B0702040204020203" pitchFamily="34" charset="0"/>
                <a:cs typeface="Segoe UI Semibold" panose="020B0702040204020203" pitchFamily="34" charset="0"/>
              </a:defRPr>
            </a:lvl1pPr>
          </a:lstStyle>
          <a:p>
            <a:pPr lvl="0"/>
            <a:r>
              <a:rPr lang="en-US"/>
              <a:t>Item 1</a:t>
            </a:r>
          </a:p>
        </p:txBody>
      </p:sp>
      <p:sp>
        <p:nvSpPr>
          <p:cNvPr id="5" name="Text Placeholder 4">
            <a:extLst>
              <a:ext uri="{FF2B5EF4-FFF2-40B4-BE49-F238E27FC236}">
                <a16:creationId xmlns:a16="http://schemas.microsoft.com/office/drawing/2014/main" id="{98427FED-80CE-1167-B2A3-8637199F79E3}"/>
              </a:ext>
            </a:extLst>
          </p:cNvPr>
          <p:cNvSpPr>
            <a:spLocks noGrp="1"/>
          </p:cNvSpPr>
          <p:nvPr>
            <p:ph type="body" sz="quarter" idx="15" hasCustomPrompt="1"/>
          </p:nvPr>
        </p:nvSpPr>
        <p:spPr>
          <a:xfrm>
            <a:off x="803234" y="2428709"/>
            <a:ext cx="3434755" cy="338554"/>
          </a:xfrm>
          <a:noFill/>
        </p:spPr>
        <p:txBody>
          <a:bodyPr wrap="square" lIns="0" tIns="0" rIns="0" bIns="0">
            <a:spAutoFit/>
          </a:bodyPr>
          <a:lstStyle>
            <a:lvl1pPr marL="0" indent="0">
              <a:spcBef>
                <a:spcPts val="0"/>
              </a:spcBef>
              <a:buNone/>
              <a:defRPr sz="2200" spc="0" baseline="0">
                <a:solidFill>
                  <a:srgbClr val="1A41AB"/>
                </a:solidFill>
                <a:latin typeface="Segoe UI Semibold" panose="020B0702040204020203" pitchFamily="34" charset="0"/>
                <a:cs typeface="Segoe UI Semibold" panose="020B0702040204020203" pitchFamily="34" charset="0"/>
              </a:defRPr>
            </a:lvl1pPr>
          </a:lstStyle>
          <a:p>
            <a:pPr lvl="0"/>
            <a:r>
              <a:rPr lang="en-US"/>
              <a:t>Item 1</a:t>
            </a:r>
          </a:p>
        </p:txBody>
      </p:sp>
    </p:spTree>
    <p:extLst>
      <p:ext uri="{BB962C8B-B14F-4D97-AF65-F5344CB8AC3E}">
        <p14:creationId xmlns:p14="http://schemas.microsoft.com/office/powerpoint/2010/main" val="2609803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exture-BIC">
    <p:bg>
      <p:bgPr>
        <a:solidFill>
          <a:schemeClr val="tx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Tree>
    <p:extLst>
      <p:ext uri="{BB962C8B-B14F-4D97-AF65-F5344CB8AC3E}">
        <p14:creationId xmlns:p14="http://schemas.microsoft.com/office/powerpoint/2010/main" val="3935144336"/>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mp; Non-bulleted text">
    <p:bg>
      <p:bgPr>
        <a:gradFill>
          <a:gsLst>
            <a:gs pos="97248">
              <a:schemeClr val="bg2">
                <a:lumMod val="75000"/>
              </a:schemeClr>
            </a:gs>
            <a:gs pos="71000">
              <a:schemeClr val="accent1">
                <a:lumMod val="89000"/>
              </a:schemeClr>
            </a:gs>
            <a:gs pos="16000">
              <a:srgbClr val="001642"/>
            </a:gs>
          </a:gsLst>
          <a:lin ang="1800000" scaled="0"/>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85800" indent="0">
              <a:buNone/>
              <a:defRPr>
                <a:solidFill>
                  <a:schemeClr val="bg1"/>
                </a:solidFill>
              </a:defRPr>
            </a:lvl4pPr>
            <a:lvl5pPr marL="914400"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5" name="Text Placeholder 4">
            <a:extLst>
              <a:ext uri="{FF2B5EF4-FFF2-40B4-BE49-F238E27FC236}">
                <a16:creationId xmlns:a16="http://schemas.microsoft.com/office/drawing/2014/main" id="{2320B643-B964-FE8D-0E12-09800B6AAAAC}"/>
              </a:ext>
            </a:extLst>
          </p:cNvPr>
          <p:cNvSpPr>
            <a:spLocks noGrp="1"/>
          </p:cNvSpPr>
          <p:nvPr>
            <p:ph type="body" sz="quarter" idx="19" hasCustomPrompt="1"/>
          </p:nvPr>
        </p:nvSpPr>
        <p:spPr>
          <a:xfrm>
            <a:off x="584200" y="478513"/>
            <a:ext cx="11018520" cy="461665"/>
          </a:xfrm>
          <a:noFill/>
        </p:spPr>
        <p:txBody>
          <a:bodyPr wrap="square" lIns="0" tIns="0" rIns="0" bIns="0">
            <a:spAutoFit/>
          </a:bodyPr>
          <a:lstStyle>
            <a:lvl1pPr marL="0" indent="0">
              <a:spcBef>
                <a:spcPts val="0"/>
              </a:spcBef>
              <a:buNone/>
              <a:defRPr sz="3000" b="0" spc="0" baseline="0">
                <a:gradFill>
                  <a:gsLst>
                    <a:gs pos="97248">
                      <a:schemeClr val="bg1"/>
                    </a:gs>
                    <a:gs pos="1835">
                      <a:srgbClr val="FFF3F9"/>
                    </a:gs>
                    <a:gs pos="36000">
                      <a:schemeClr val="accent2">
                        <a:lumMod val="20000"/>
                        <a:lumOff val="80000"/>
                      </a:schemeClr>
                    </a:gs>
                  </a:gsLst>
                  <a:lin ang="1800000" scaled="0"/>
                </a:gradFill>
                <a:latin typeface="Segoe UI Semibold" panose="020B0702040204020203" pitchFamily="34" charset="0"/>
                <a:cs typeface="Segoe UI Semibold" panose="020B0702040204020203" pitchFamily="34" charset="0"/>
              </a:defRPr>
            </a:lvl1pPr>
          </a:lstStyle>
          <a:p>
            <a:pPr lvl="0"/>
            <a:r>
              <a:rPr lang="en-US"/>
              <a:t>Title goes here</a:t>
            </a:r>
          </a:p>
        </p:txBody>
      </p:sp>
    </p:spTree>
    <p:extLst>
      <p:ext uri="{BB962C8B-B14F-4D97-AF65-F5344CB8AC3E}">
        <p14:creationId xmlns:p14="http://schemas.microsoft.com/office/powerpoint/2010/main" val="27603579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1_Blank 2">
    <p:bg>
      <p:bgPr>
        <a:gradFill>
          <a:gsLst>
            <a:gs pos="0">
              <a:srgbClr val="FECBE6">
                <a:alpha val="0"/>
              </a:srgbClr>
            </a:gs>
            <a:gs pos="26000">
              <a:srgbClr val="BABAFF">
                <a:alpha val="88000"/>
              </a:srgbClr>
            </a:gs>
            <a:gs pos="50000">
              <a:srgbClr val="58AAFE">
                <a:alpha val="55000"/>
              </a:srgbClr>
            </a:gs>
            <a:gs pos="98165">
              <a:srgbClr val="1B45B3">
                <a:alpha val="37000"/>
              </a:srgbClr>
            </a:gs>
            <a:gs pos="88000">
              <a:srgbClr val="2764E7">
                <a:alpha val="55000"/>
              </a:srgbClr>
            </a:gs>
            <a:gs pos="72000">
              <a:srgbClr val="4894FE">
                <a:alpha val="52000"/>
              </a:srgbClr>
            </a:gs>
          </a:gsLst>
          <a:lin ang="1560000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25709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Blank 2">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972656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Closing logo slide">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17B18E1-4721-EAE2-312C-681C221A4C1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9A0EDD4B-0DBE-839F-5794-924F662D2DB4}"/>
              </a:ext>
            </a:extLst>
          </p:cNvPr>
          <p:cNvPicPr>
            <a:picLocks noChangeAspect="1"/>
          </p:cNvPicPr>
          <p:nvPr userDrawn="1"/>
        </p:nvPicPr>
        <p:blipFill>
          <a:blip r:embed="rId3"/>
          <a:stretch>
            <a:fillRect/>
          </a:stretch>
        </p:blipFill>
        <p:spPr>
          <a:xfrm>
            <a:off x="571500" y="509250"/>
            <a:ext cx="495300" cy="495300"/>
          </a:xfrm>
          <a:prstGeom prst="rect">
            <a:avLst/>
          </a:prstGeom>
        </p:spPr>
      </p:pic>
      <p:sp>
        <p:nvSpPr>
          <p:cNvPr id="5" name="TextBox 4">
            <a:extLst>
              <a:ext uri="{FF2B5EF4-FFF2-40B4-BE49-F238E27FC236}">
                <a16:creationId xmlns:a16="http://schemas.microsoft.com/office/drawing/2014/main" id="{71CFAFC2-6B71-435A-D211-88E89E6993CC}"/>
              </a:ext>
            </a:extLst>
          </p:cNvPr>
          <p:cNvSpPr txBox="1"/>
          <p:nvPr userDrawn="1"/>
        </p:nvSpPr>
        <p:spPr>
          <a:xfrm>
            <a:off x="571500" y="1064973"/>
            <a:ext cx="3273552" cy="307777"/>
          </a:xfrm>
          <a:prstGeom prst="rect">
            <a:avLst/>
          </a:prstGeom>
          <a:noFill/>
        </p:spPr>
        <p:txBody>
          <a:bodyPr wrap="square" lIns="0" tIns="0" rIns="0" bIns="0" rtlCol="0">
            <a:spAutoFit/>
          </a:bodyPr>
          <a:lstStyle/>
          <a:p>
            <a:pPr algn="l"/>
            <a:r>
              <a:rPr lang="en-US" sz="2000">
                <a:solidFill>
                  <a:srgbClr val="FFFFFF"/>
                </a:solidFill>
              </a:rPr>
              <a:t>Agent 365</a:t>
            </a:r>
          </a:p>
        </p:txBody>
      </p:sp>
      <p:pic>
        <p:nvPicPr>
          <p:cNvPr id="3" name="Picture 2">
            <a:extLst>
              <a:ext uri="{FF2B5EF4-FFF2-40B4-BE49-F238E27FC236}">
                <a16:creationId xmlns:a16="http://schemas.microsoft.com/office/drawing/2014/main" id="{09687E54-914A-71BF-E098-3E4B0C6B1D0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61544"/>
          </a:xfrm>
          <a:prstGeom prst="rect">
            <a:avLst/>
          </a:prstGeom>
        </p:spPr>
      </p:pic>
      <p:sp>
        <p:nvSpPr>
          <p:cNvPr id="6" name="!! Box">
            <a:extLst>
              <a:ext uri="{FF2B5EF4-FFF2-40B4-BE49-F238E27FC236}">
                <a16:creationId xmlns:a16="http://schemas.microsoft.com/office/drawing/2014/main" id="{057741B9-83A5-6E41-B090-B42422C2DBC2}"/>
              </a:ext>
              <a:ext uri="{C183D7F6-B498-43B3-948B-1728B52AA6E4}">
                <adec:decorative xmlns:adec="http://schemas.microsoft.com/office/drawing/2017/decorative" val="1"/>
              </a:ext>
            </a:extLst>
          </p:cNvPr>
          <p:cNvSpPr/>
          <p:nvPr userDrawn="1"/>
        </p:nvSpPr>
        <p:spPr bwMode="auto">
          <a:xfrm>
            <a:off x="1280625" y="-1563006"/>
            <a:ext cx="1523990" cy="1268694"/>
          </a:xfrm>
          <a:prstGeom prst="roundRect">
            <a:avLst>
              <a:gd name="adj" fmla="val 10307"/>
            </a:avLst>
          </a:prstGeom>
          <a:noFill/>
          <a:ln w="25400" cap="rnd" cmpd="sng" algn="ctr">
            <a:noFill/>
            <a:prstDash val="solid"/>
            <a:headEnd type="none" w="lg" len="sm"/>
            <a:tailEnd type="none" w="lg" len="sm"/>
          </a:ln>
          <a:effectLst/>
        </p:spPr>
        <p:txBody>
          <a:bodyPr rot="0" spcFirstLastPara="0" vertOverflow="overflow" horzOverflow="overflow" vert="horz" wrap="square" lIns="455049" tIns="364040" rIns="455049" bIns="364040" numCol="1" spcCol="0" rtlCol="0" fromWordArt="0" anchor="t" anchorCtr="0" forceAA="0" compatLnSpc="1">
            <a:prstTxWarp prst="textNoShape">
              <a:avLst/>
            </a:prstTxWarp>
            <a:noAutofit/>
          </a:bodyPr>
          <a:lstStyle>
            <a:defPPr>
              <a:defRPr lang="en-US"/>
            </a:defPPr>
            <a:lvl1pPr marL="0" algn="l" defTabSz="3277091" rtl="0" eaLnBrk="1" latinLnBrk="0" hangingPunct="1">
              <a:defRPr sz="6326" kern="1200">
                <a:solidFill>
                  <a:schemeClr val="tx1"/>
                </a:solidFill>
                <a:latin typeface="+mn-lt"/>
                <a:ea typeface="+mn-ea"/>
                <a:cs typeface="+mn-cs"/>
              </a:defRPr>
            </a:lvl1pPr>
            <a:lvl2pPr marL="1638544" algn="l" defTabSz="3277091" rtl="0" eaLnBrk="1" latinLnBrk="0" hangingPunct="1">
              <a:defRPr sz="6326" kern="1200">
                <a:solidFill>
                  <a:schemeClr val="tx1"/>
                </a:solidFill>
                <a:latin typeface="+mn-lt"/>
                <a:ea typeface="+mn-ea"/>
                <a:cs typeface="+mn-cs"/>
              </a:defRPr>
            </a:lvl2pPr>
            <a:lvl3pPr marL="3277091" algn="l" defTabSz="3277091" rtl="0" eaLnBrk="1" latinLnBrk="0" hangingPunct="1">
              <a:defRPr sz="6326" kern="1200">
                <a:solidFill>
                  <a:schemeClr val="tx1"/>
                </a:solidFill>
                <a:latin typeface="+mn-lt"/>
                <a:ea typeface="+mn-ea"/>
                <a:cs typeface="+mn-cs"/>
              </a:defRPr>
            </a:lvl3pPr>
            <a:lvl4pPr marL="4915635" algn="l" defTabSz="3277091" rtl="0" eaLnBrk="1" latinLnBrk="0" hangingPunct="1">
              <a:defRPr sz="6326" kern="1200">
                <a:solidFill>
                  <a:schemeClr val="tx1"/>
                </a:solidFill>
                <a:latin typeface="+mn-lt"/>
                <a:ea typeface="+mn-ea"/>
                <a:cs typeface="+mn-cs"/>
              </a:defRPr>
            </a:lvl4pPr>
            <a:lvl5pPr marL="6554183" algn="l" defTabSz="3277091" rtl="0" eaLnBrk="1" latinLnBrk="0" hangingPunct="1">
              <a:defRPr sz="6326" kern="1200">
                <a:solidFill>
                  <a:schemeClr val="tx1"/>
                </a:solidFill>
                <a:latin typeface="+mn-lt"/>
                <a:ea typeface="+mn-ea"/>
                <a:cs typeface="+mn-cs"/>
              </a:defRPr>
            </a:lvl5pPr>
            <a:lvl6pPr marL="8192730" algn="l" defTabSz="3277091" rtl="0" eaLnBrk="1" latinLnBrk="0" hangingPunct="1">
              <a:defRPr sz="6326" kern="1200">
                <a:solidFill>
                  <a:schemeClr val="tx1"/>
                </a:solidFill>
                <a:latin typeface="+mn-lt"/>
                <a:ea typeface="+mn-ea"/>
                <a:cs typeface="+mn-cs"/>
              </a:defRPr>
            </a:lvl6pPr>
            <a:lvl7pPr marL="9831274" algn="l" defTabSz="3277091" rtl="0" eaLnBrk="1" latinLnBrk="0" hangingPunct="1">
              <a:defRPr sz="6326" kern="1200">
                <a:solidFill>
                  <a:schemeClr val="tx1"/>
                </a:solidFill>
                <a:latin typeface="+mn-lt"/>
                <a:ea typeface="+mn-ea"/>
                <a:cs typeface="+mn-cs"/>
              </a:defRPr>
            </a:lvl7pPr>
            <a:lvl8pPr marL="11469818" algn="l" defTabSz="3277091" rtl="0" eaLnBrk="1" latinLnBrk="0" hangingPunct="1">
              <a:defRPr sz="6326" kern="1200">
                <a:solidFill>
                  <a:schemeClr val="tx1"/>
                </a:solidFill>
                <a:latin typeface="+mn-lt"/>
                <a:ea typeface="+mn-ea"/>
                <a:cs typeface="+mn-cs"/>
              </a:defRPr>
            </a:lvl8pPr>
            <a:lvl9pPr marL="13108369" algn="l" defTabSz="3277091" rtl="0" eaLnBrk="1" latinLnBrk="0" hangingPunct="1">
              <a:defRPr sz="6326" kern="1200">
                <a:solidFill>
                  <a:schemeClr val="tx1"/>
                </a:solidFill>
                <a:latin typeface="+mn-lt"/>
                <a:ea typeface="+mn-ea"/>
                <a:cs typeface="+mn-cs"/>
              </a:defRPr>
            </a:lvl9pPr>
          </a:lstStyle>
          <a:p>
            <a:pPr marL="0" marR="0" lvl="0" indent="0" algn="l" defTabSz="2320245" rtl="0" eaLnBrk="1" fontAlgn="base" latinLnBrk="0" hangingPunct="1">
              <a:lnSpc>
                <a:spcPct val="100000"/>
              </a:lnSpc>
              <a:spcBef>
                <a:spcPct val="0"/>
              </a:spcBef>
              <a:spcAft>
                <a:spcPct val="0"/>
              </a:spcAft>
              <a:buClrTx/>
              <a:buSzTx/>
              <a:buFontTx/>
              <a:buNone/>
              <a:tabLst/>
              <a:defRPr/>
            </a:pPr>
            <a:endParaRPr kumimoji="0" lang="en-US" sz="700" b="1" i="0" u="none" strike="noStrike" kern="0" cap="none" spc="0" normalizeH="0" baseline="0" noProof="0">
              <a:ln>
                <a:noFill/>
              </a:ln>
              <a:gradFill>
                <a:gsLst>
                  <a:gs pos="0">
                    <a:srgbClr val="000000"/>
                  </a:gs>
                  <a:gs pos="99000">
                    <a:srgbClr val="000000"/>
                  </a:gs>
                </a:gsLst>
                <a:path path="circle">
                  <a:fillToRect r="100000" b="100000"/>
                </a:path>
              </a:gradFill>
              <a:effectLst/>
              <a:uLnTx/>
              <a:uFillTx/>
              <a:latin typeface="Segoe UI Variable Display Semibold" pitchFamily="2" charset="0"/>
              <a:ea typeface="+mn-ea"/>
              <a:cs typeface="Segoe UI" pitchFamily="34" charset="0"/>
            </a:endParaRPr>
          </a:p>
        </p:txBody>
      </p:sp>
      <p:sp>
        <p:nvSpPr>
          <p:cNvPr id="8" name="Rounded Rectangle 3">
            <a:extLst>
              <a:ext uri="{FF2B5EF4-FFF2-40B4-BE49-F238E27FC236}">
                <a16:creationId xmlns:a16="http://schemas.microsoft.com/office/drawing/2014/main" id="{A3318C28-B281-577D-EDDD-818D4185EDF4}"/>
              </a:ext>
            </a:extLst>
          </p:cNvPr>
          <p:cNvSpPr/>
          <p:nvPr userDrawn="1"/>
        </p:nvSpPr>
        <p:spPr bwMode="auto">
          <a:xfrm>
            <a:off x="7621273" y="5128178"/>
            <a:ext cx="4421202" cy="1314208"/>
          </a:xfrm>
          <a:prstGeom prst="roundRect">
            <a:avLst>
              <a:gd name="adj" fmla="val 39049"/>
            </a:avLst>
          </a:prstGeom>
          <a:gradFill flip="none" rotWithShape="1">
            <a:gsLst>
              <a:gs pos="100000">
                <a:schemeClr val="accent4">
                  <a:lumMod val="90000"/>
                </a:schemeClr>
              </a:gs>
              <a:gs pos="29400">
                <a:schemeClr val="accent3">
                  <a:lumMod val="40000"/>
                  <a:lumOff val="60000"/>
                </a:schemeClr>
              </a:gs>
              <a:gs pos="0">
                <a:schemeClr val="accent5"/>
              </a:gs>
            </a:gsLst>
            <a:path path="circle">
              <a:fillToRect l="100000" t="100000"/>
            </a:path>
            <a:tileRect r="-100000" b="-100000"/>
          </a:gradFill>
          <a:ln w="76200">
            <a:noFill/>
            <a:headEnd type="none" w="med" len="med"/>
            <a:tailEnd type="none" w="med" len="med"/>
          </a:ln>
          <a:effectLst>
            <a:outerShdw blurRad="375109" dist="101600" dir="5400000" sx="105000" sy="105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80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150" normalizeH="0" baseline="0" noProof="0">
                <a:ln>
                  <a:noFill/>
                </a:ln>
                <a:solidFill>
                  <a:schemeClr val="tx1"/>
                </a:solidFill>
                <a:effectLst/>
                <a:uLnTx/>
                <a:uFillTx/>
                <a:latin typeface="Segoe Sans Display Semibold" pitchFamily="2" charset="0"/>
                <a:ea typeface="Segoe UI" pitchFamily="34" charset="0"/>
                <a:cs typeface="Segoe Sans Display Semibold" pitchFamily="2" charset="0"/>
              </a:rPr>
              <a:t>Thank you!</a:t>
            </a:r>
            <a:endParaRPr kumimoji="0" lang="en-US" sz="5400" b="1" i="0" u="none" strike="noStrike" kern="1200" cap="none" spc="0" normalizeH="0" baseline="0" noProof="0">
              <a:ln>
                <a:noFill/>
              </a:ln>
              <a:solidFill>
                <a:schemeClr val="tx1"/>
              </a:solidFill>
              <a:effectLst/>
              <a:uLnTx/>
              <a:uFillTx/>
              <a:latin typeface="Segoe Sans Display Semibold" pitchFamily="2" charset="0"/>
              <a:ea typeface="Segoe UI" pitchFamily="34" charset="0"/>
              <a:cs typeface="Segoe Sans Display Semibold" pitchFamily="2" charset="0"/>
            </a:endParaRPr>
          </a:p>
        </p:txBody>
      </p:sp>
      <p:sp>
        <p:nvSpPr>
          <p:cNvPr id="9" name="Rectangle 8">
            <a:extLst>
              <a:ext uri="{FF2B5EF4-FFF2-40B4-BE49-F238E27FC236}">
                <a16:creationId xmlns:a16="http://schemas.microsoft.com/office/drawing/2014/main" id="{680F95E0-BB61-4881-F21A-31DD3575D78C}"/>
              </a:ext>
            </a:extLst>
          </p:cNvPr>
          <p:cNvSpPr/>
          <p:nvPr userDrawn="1"/>
        </p:nvSpPr>
        <p:spPr>
          <a:xfrm>
            <a:off x="12271075" y="5672832"/>
            <a:ext cx="415115" cy="112450"/>
          </a:xfrm>
          <a:prstGeom prst="rect">
            <a:avLst/>
          </a:prstGeom>
          <a:solidFill>
            <a:srgbClr val="126871"/>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656350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78789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4982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light-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90098" cy="153889"/>
          </a:xfrm>
          <a:prstGeom prst="rect">
            <a:avLst/>
          </a:prstGeom>
          <a:noFill/>
        </p:spPr>
        <p:txBody>
          <a:bodyPr wrap="squar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32410433"/>
      </p:ext>
    </p:extLst>
  </p:cSld>
  <p:clrMapOvr>
    <a:masterClrMapping/>
  </p:clrMapOvr>
  <p:transition>
    <p:fade/>
  </p:transition>
  <p:extLst>
    <p:ext uri="{DCECCB84-F9BA-43D5-87BE-67443E8EF086}">
      <p15:sldGuideLst xmlns:p15="http://schemas.microsoft.com/office/powerpoint/2012/main">
        <p15:guide id="2" orient="horz" pos="636">
          <p15:clr>
            <a:srgbClr val="5ACBF0"/>
          </p15:clr>
        </p15:guide>
        <p15:guide id="3" orient="horz" pos="144">
          <p15:clr>
            <a:srgbClr val="5ACBF0"/>
          </p15:clr>
        </p15:guide>
        <p15:guide id="5" orient="horz" pos="45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067866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53622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gradFill>
            <a:gsLst>
              <a:gs pos="0">
                <a:schemeClr val="accent1"/>
              </a:gs>
              <a:gs pos="100000">
                <a:schemeClr val="accent3"/>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9587683"/>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 Header Line 01">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95D43A3-1599-79ED-3554-60413F5698B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33531133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5D5AA619-22C5-E624-FD06-098868F01DBA}"/>
              </a:ext>
            </a:extLst>
          </p:cNvPr>
          <p:cNvSpPr>
            <a:spLocks noGrp="1"/>
          </p:cNvSpPr>
          <p:nvPr>
            <p:ph type="title" hasCustomPrompt="1"/>
          </p:nvPr>
        </p:nvSpPr>
        <p:spPr>
          <a:xfrm>
            <a:off x="584200" y="3035178"/>
            <a:ext cx="9144000" cy="498598"/>
          </a:xfr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2000">
                      <a:schemeClr val="accent2"/>
                    </a:gs>
                    <a:gs pos="100000">
                      <a:schemeClr val="accent3"/>
                    </a:gs>
                  </a:gsLst>
                  <a:lin ang="2400000" scaled="0"/>
                </a:gradFill>
                <a:effectLst/>
                <a:latin typeface="+mj-lt"/>
                <a:ea typeface="+mn-ea"/>
                <a:cs typeface="Segoe UI" pitchFamily="34" charset="0"/>
              </a:defRPr>
            </a:lvl1pPr>
          </a:lstStyle>
          <a:p>
            <a:pPr lvl="0"/>
            <a:r>
              <a:rPr lang="en-US"/>
              <a:t>Session or demo title</a:t>
            </a:r>
          </a:p>
        </p:txBody>
      </p:sp>
      <p:sp>
        <p:nvSpPr>
          <p:cNvPr id="7" name="Text Placeholder 4">
            <a:extLst>
              <a:ext uri="{FF2B5EF4-FFF2-40B4-BE49-F238E27FC236}">
                <a16:creationId xmlns:a16="http://schemas.microsoft.com/office/drawing/2014/main" id="{F66251B6-6669-3E5F-CBBE-363F82903A09}"/>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E9310532-FEFD-7A18-695E-D9F2CC968D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941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01">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FA81D9D0-A8F0-5981-61F1-95B0C9D3D75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772E02E-9408-3A16-2204-9A9ECDD48808}"/>
              </a:ext>
            </a:extLst>
          </p:cNvPr>
          <p:cNvSpPr txBox="1">
            <a:spLocks/>
          </p:cNvSpPr>
          <p:nvPr userDrawn="1"/>
        </p:nvSpPr>
        <p:spPr>
          <a:xfrm>
            <a:off x="666811" y="370312"/>
            <a:ext cx="9866313" cy="2908489"/>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accent2"/>
                </a:solidFill>
                <a:effectLst/>
                <a:latin typeface="Segoe UI Semibold" panose="020B0702040204020203" pitchFamily="34" charset="0"/>
                <a:ea typeface="+mn-ea"/>
                <a:cs typeface="Segoe UI Semibold" panose="020B0702040204020203" pitchFamily="34" charset="0"/>
              </a:defRPr>
            </a:lvl1pPr>
          </a:lstStyle>
          <a:p>
            <a:r>
              <a:rPr lang="en-US" sz="18900">
                <a:gradFill>
                  <a:gsLst>
                    <a:gs pos="0">
                      <a:schemeClr val="accent1"/>
                    </a:gs>
                    <a:gs pos="100000">
                      <a:schemeClr val="accent3"/>
                    </a:gs>
                  </a:gsLst>
                  <a:lin ang="2400000" scaled="0"/>
                </a:gradFill>
                <a:latin typeface="Arial Black" panose="020B0A04020102020204" pitchFamily="34" charset="0"/>
              </a:rPr>
              <a:t>”</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2325380" y="4974300"/>
            <a:ext cx="3855502" cy="276999"/>
          </a:xfrm>
        </p:spPr>
        <p:txBody>
          <a:bodyPr/>
          <a:lstStyle>
            <a:lvl1pPr marL="0" indent="0" algn="l">
              <a:spcBef>
                <a:spcPts val="0"/>
              </a:spcBef>
              <a:buNone/>
              <a:defRPr sz="1800">
                <a:solidFill>
                  <a:schemeClr val="accent2"/>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2325380" y="5271879"/>
            <a:ext cx="3855502" cy="430887"/>
          </a:xfrm>
        </p:spPr>
        <p:txBody>
          <a:bodyPr/>
          <a:lstStyle>
            <a:lvl1pPr marL="0" indent="0" algn="l">
              <a:spcBef>
                <a:spcPts val="0"/>
              </a:spcBef>
              <a:buNone/>
              <a:defRPr sz="1400">
                <a:solidFill>
                  <a:schemeClr val="bg1"/>
                </a:solidFill>
                <a:latin typeface="+mn-lt"/>
              </a:defRPr>
            </a:lvl1pPr>
          </a:lstStyle>
          <a:p>
            <a:pPr lvl="0"/>
            <a:r>
              <a:rPr lang="en-US"/>
              <a:t>Job title or another attribute</a:t>
            </a:r>
            <a:br>
              <a:rPr lang="en-US"/>
            </a:br>
            <a:r>
              <a:rPr lang="en-US"/>
              <a:t>Company if applicabl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749550" y="2194074"/>
            <a:ext cx="6160536" cy="1661993"/>
          </a:xfrm>
        </p:spPr>
        <p:txBody>
          <a:bodyPr anchor="b"/>
          <a:lstStyle>
            <a:lvl1pPr>
              <a:defRPr>
                <a:solidFill>
                  <a:schemeClr val="accent2"/>
                </a:solidFill>
              </a:defRPr>
            </a:lvl1pPr>
          </a:lstStyle>
          <a:p>
            <a:r>
              <a:rPr lang="en-US"/>
              <a:t>“Add quote text here Add quote text here Add quote text here Add quote text here”</a:t>
            </a:r>
          </a:p>
        </p:txBody>
      </p:sp>
    </p:spTree>
    <p:extLst>
      <p:ext uri="{BB962C8B-B14F-4D97-AF65-F5344CB8AC3E}">
        <p14:creationId xmlns:p14="http://schemas.microsoft.com/office/powerpoint/2010/main" val="24257062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06 w/ photo">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4256E61-BAE0-966F-33FB-4875F4CFF83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6A76F132-B9CF-86BB-C18A-7AD8C024046B}"/>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9" y="3779493"/>
            <a:ext cx="5908494"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9" y="4077072"/>
            <a:ext cx="5908494" cy="430887"/>
          </a:xfrm>
        </p:spPr>
        <p:txBody>
          <a:bodyPr/>
          <a:lstStyle>
            <a:lvl1pPr marL="0" indent="0" algn="l">
              <a:spcBef>
                <a:spcPts val="0"/>
              </a:spcBef>
              <a:buNone/>
              <a:defRPr sz="1400">
                <a:solidFill>
                  <a:schemeClr val="tx1"/>
                </a:solidFill>
                <a:latin typeface="+mn-lt"/>
              </a:defRPr>
            </a:lvl1pPr>
          </a:lstStyle>
          <a:p>
            <a:pPr lvl="0"/>
            <a:r>
              <a:rPr lang="en-US"/>
              <a:t>Job title or another attribute</a:t>
            </a:r>
            <a:br>
              <a:rPr lang="en-US"/>
            </a:br>
            <a:r>
              <a:rPr lang="en-US"/>
              <a:t>Company if applicabl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9" y="2025650"/>
            <a:ext cx="5908494"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5922509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 name="Title 1">
            <a:extLst>
              <a:ext uri="{FF2B5EF4-FFF2-40B4-BE49-F238E27FC236}">
                <a16:creationId xmlns:a16="http://schemas.microsoft.com/office/drawing/2014/main" id="{1BF1F936-2918-1FF2-729F-CC935DD14A7F}"/>
              </a:ext>
            </a:extLst>
          </p:cNvPr>
          <p:cNvSpPr>
            <a:spLocks noGrp="1"/>
          </p:cNvSpPr>
          <p:nvPr>
            <p:ph type="title" hasCustomPrompt="1"/>
          </p:nvPr>
        </p:nvSpPr>
        <p:spPr>
          <a:xfrm>
            <a:off x="584200" y="2930402"/>
            <a:ext cx="9144000"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Thank you.</a:t>
            </a:r>
          </a:p>
        </p:txBody>
      </p:sp>
      <p:pic>
        <p:nvPicPr>
          <p:cNvPr id="6" name="MS logo gray - EMF" descr="Microsoft logo, gray text version">
            <a:extLst>
              <a:ext uri="{FF2B5EF4-FFF2-40B4-BE49-F238E27FC236}">
                <a16:creationId xmlns:a16="http://schemas.microsoft.com/office/drawing/2014/main" id="{BF0865EE-605D-2EAB-43E0-A054281062A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031304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noAutofit/>
          </a:bodyPr>
          <a:lstStyle>
            <a:lvl1pPr marL="0" indent="0">
              <a:spcAft>
                <a:spcPts val="600"/>
              </a:spcAft>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98475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727763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97376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 Square Photo Left">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1093807"/>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2073295"/>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41851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931762"/>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911250"/>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39432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9258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443250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1232835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9787199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202217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92192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189437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5115581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90404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45499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78576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88830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550538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6217774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17318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6368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488103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5335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29623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76965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569652A2-E29C-BE8D-BDD3-DE79D7CD36E2}"/>
              </a:ext>
            </a:extLst>
          </p:cNvPr>
          <p:cNvSpPr>
            <a:spLocks noGrp="1"/>
          </p:cNvSpPr>
          <p:nvPr>
            <p:ph type="title" hasCustomPrompt="1"/>
          </p:nvPr>
        </p:nvSpPr>
        <p:spPr>
          <a:xfrm>
            <a:off x="588263" y="2309811"/>
            <a:ext cx="3179065" cy="553998"/>
          </a:xfrm>
        </p:spPr>
        <p:txBody>
          <a:bodyPr anchor="t" anchorCtr="0"/>
          <a:lstStyle>
            <a:lvl1pPr>
              <a:defRPr/>
            </a:lvl1pPr>
          </a:lstStyle>
          <a:p>
            <a:r>
              <a:rPr lang="en-US"/>
              <a:t>Title</a:t>
            </a:r>
            <a:endParaRPr lang="en-CA"/>
          </a:p>
        </p:txBody>
      </p:sp>
    </p:spTree>
    <p:extLst>
      <p:ext uri="{BB962C8B-B14F-4D97-AF65-F5344CB8AC3E}">
        <p14:creationId xmlns:p14="http://schemas.microsoft.com/office/powerpoint/2010/main" val="7892276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gradFill flip="none" rotWithShape="1">
              <a:gsLst>
                <a:gs pos="0">
                  <a:schemeClr val="accent2"/>
                </a:gs>
                <a:gs pos="100000">
                  <a:schemeClr val="accent3"/>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itle 3">
            <a:extLst>
              <a:ext uri="{FF2B5EF4-FFF2-40B4-BE49-F238E27FC236}">
                <a16:creationId xmlns:a16="http://schemas.microsoft.com/office/drawing/2014/main" id="{AE92A3BC-F5A8-2DAA-DD0D-D13234BCD462}"/>
              </a:ext>
            </a:extLst>
          </p:cNvPr>
          <p:cNvSpPr>
            <a:spLocks noGrp="1"/>
          </p:cNvSpPr>
          <p:nvPr>
            <p:ph type="title" hasCustomPrompt="1"/>
          </p:nvPr>
        </p:nvSpPr>
        <p:spPr>
          <a:xfrm>
            <a:off x="588263" y="3150413"/>
            <a:ext cx="3080909" cy="553998"/>
          </a:xfrm>
        </p:spPr>
        <p:txBody>
          <a:bodyPr/>
          <a:lstStyle>
            <a:lvl1pPr>
              <a:defRPr/>
            </a:lvl1pPr>
          </a:lstStyle>
          <a:p>
            <a:r>
              <a:rPr lang="en-US"/>
              <a:t>Title</a:t>
            </a:r>
            <a:endParaRPr lang="en-CA"/>
          </a:p>
        </p:txBody>
      </p:sp>
    </p:spTree>
    <p:extLst>
      <p:ext uri="{BB962C8B-B14F-4D97-AF65-F5344CB8AC3E}">
        <p14:creationId xmlns:p14="http://schemas.microsoft.com/office/powerpoint/2010/main" val="35560236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itle 3">
            <a:extLst>
              <a:ext uri="{FF2B5EF4-FFF2-40B4-BE49-F238E27FC236}">
                <a16:creationId xmlns:a16="http://schemas.microsoft.com/office/drawing/2014/main" id="{58663207-1A18-AE82-9D0F-35CDCAABAD66}"/>
              </a:ext>
            </a:extLst>
          </p:cNvPr>
          <p:cNvSpPr>
            <a:spLocks noGrp="1"/>
          </p:cNvSpPr>
          <p:nvPr>
            <p:ph type="title" hasCustomPrompt="1"/>
          </p:nvPr>
        </p:nvSpPr>
        <p:spPr>
          <a:xfrm>
            <a:off x="588263" y="457200"/>
            <a:ext cx="2999889" cy="553998"/>
          </a:xfrm>
        </p:spPr>
        <p:txBody>
          <a:bodyPr/>
          <a:lstStyle>
            <a:lvl1pPr>
              <a:defRPr/>
            </a:lvl1pPr>
          </a:lstStyle>
          <a:p>
            <a:r>
              <a:rPr lang="en-US"/>
              <a:t>Title</a:t>
            </a:r>
            <a:endParaRPr lang="en-CA"/>
          </a:p>
        </p:txBody>
      </p:sp>
    </p:spTree>
    <p:extLst>
      <p:ext uri="{BB962C8B-B14F-4D97-AF65-F5344CB8AC3E}">
        <p14:creationId xmlns:p14="http://schemas.microsoft.com/office/powerpoint/2010/main" val="13815847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9" name="Title 8">
            <a:extLst>
              <a:ext uri="{FF2B5EF4-FFF2-40B4-BE49-F238E27FC236}">
                <a16:creationId xmlns:a16="http://schemas.microsoft.com/office/drawing/2014/main" id="{699DD0A3-990A-8748-1537-7378C601906F}"/>
              </a:ext>
            </a:extLst>
          </p:cNvPr>
          <p:cNvSpPr>
            <a:spLocks noGrp="1"/>
          </p:cNvSpPr>
          <p:nvPr>
            <p:ph type="title" hasCustomPrompt="1"/>
          </p:nvPr>
        </p:nvSpPr>
        <p:spPr>
          <a:xfrm>
            <a:off x="588263" y="457200"/>
            <a:ext cx="2884142" cy="553998"/>
          </a:xfrm>
        </p:spPr>
        <p:txBody>
          <a:bodyPr/>
          <a:lstStyle>
            <a:lvl1pPr>
              <a:defRPr/>
            </a:lvl1pPr>
          </a:lstStyle>
          <a:p>
            <a:r>
              <a:rPr lang="en-US"/>
              <a:t>Title</a:t>
            </a:r>
            <a:endParaRPr lang="en-CA"/>
          </a:p>
        </p:txBody>
      </p:sp>
    </p:spTree>
    <p:extLst>
      <p:ext uri="{BB962C8B-B14F-4D97-AF65-F5344CB8AC3E}">
        <p14:creationId xmlns:p14="http://schemas.microsoft.com/office/powerpoint/2010/main" val="629202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
        <p:nvSpPr>
          <p:cNvPr id="7" name="Picture Placeholder 6">
            <a:extLst>
              <a:ext uri="{FF2B5EF4-FFF2-40B4-BE49-F238E27FC236}">
                <a16:creationId xmlns:a16="http://schemas.microsoft.com/office/drawing/2014/main" id="{3B01AA23-E126-1E9B-2812-E55E91413EDB}"/>
              </a:ext>
            </a:extLst>
          </p:cNvPr>
          <p:cNvSpPr>
            <a:spLocks noGrp="1"/>
          </p:cNvSpPr>
          <p:nvPr>
            <p:ph type="pic" sz="quarter" idx="10"/>
          </p:nvPr>
        </p:nvSpPr>
        <p:spPr>
          <a:xfrm>
            <a:off x="6242050" y="0"/>
            <a:ext cx="5949950" cy="6857999"/>
          </a:xfrm>
          <a:solidFill>
            <a:schemeClr val="bg1">
              <a:lumMod val="95000"/>
            </a:schemeClr>
          </a:solidFill>
        </p:spPr>
        <p:txBody>
          <a:bodyPr/>
          <a:lstStyle>
            <a:lvl1pPr marL="0" indent="0">
              <a:buNone/>
              <a:defRPr sz="1800"/>
            </a:lvl1pPr>
          </a:lstStyle>
          <a:p>
            <a:endParaRPr lang="en-US"/>
          </a:p>
        </p:txBody>
      </p:sp>
    </p:spTree>
    <p:extLst>
      <p:ext uri="{BB962C8B-B14F-4D97-AF65-F5344CB8AC3E}">
        <p14:creationId xmlns:p14="http://schemas.microsoft.com/office/powerpoint/2010/main" val="4123425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gradFill>
                  <a:gsLst>
                    <a:gs pos="0">
                      <a:schemeClr val="accent1"/>
                    </a:gs>
                    <a:gs pos="100000">
                      <a:schemeClr val="accent3"/>
                    </a:gs>
                  </a:gsLst>
                  <a:lin ang="2400000" scaled="0"/>
                </a:gra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bg1"/>
                </a:solidFill>
              </a:defRPr>
            </a:lvl1pPr>
            <a:lvl2pPr marL="228600" indent="0">
              <a:buNone/>
              <a:defRPr sz="1400">
                <a:solidFill>
                  <a:schemeClr val="bg1"/>
                </a:solidFill>
              </a:defRPr>
            </a:lvl2pPr>
            <a:lvl3pPr marL="457200" indent="0">
              <a:buNone/>
              <a:defRPr sz="1400">
                <a:solidFill>
                  <a:schemeClr val="bg1"/>
                </a:solidFill>
              </a:defRPr>
            </a:lvl3pPr>
            <a:lvl4pPr marL="661988" indent="0">
              <a:buNone/>
              <a:defRPr sz="1400">
                <a:solidFill>
                  <a:schemeClr val="bg1"/>
                </a:solidFill>
              </a:defRPr>
            </a:lvl4pPr>
            <a:lvl5pPr marL="855663" indent="0">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9649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Pr>
        <a:solidFill>
          <a:schemeClr val="bg1"/>
        </a:solidFill>
        <a:effectLst/>
      </p:bgPr>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8C5A4B86-3999-CC4D-1925-487D3FA19BB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4271"/>
          <a:stretch/>
        </p:blipFill>
        <p:spPr>
          <a:xfrm>
            <a:off x="0" y="0"/>
            <a:ext cx="4356100" cy="6858000"/>
          </a:xfrm>
          <a:prstGeom prst="rect">
            <a:avLst/>
          </a:prstGeom>
        </p:spPr>
      </p:pic>
      <p:sp>
        <p:nvSpPr>
          <p:cNvPr id="4" name="Rectangle 3">
            <a:extLst>
              <a:ext uri="{FF2B5EF4-FFF2-40B4-BE49-F238E27FC236}">
                <a16:creationId xmlns:a16="http://schemas.microsoft.com/office/drawing/2014/main" id="{822A3B09-F7BC-3C2B-081B-BD1E3B3A5FF6}"/>
              </a:ext>
            </a:extLst>
          </p:cNvPr>
          <p:cNvSpPr/>
          <p:nvPr userDrawn="1"/>
        </p:nvSpPr>
        <p:spPr bwMode="auto">
          <a:xfrm>
            <a:off x="0" y="0"/>
            <a:ext cx="4356100"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63158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488C947-40F3-D142-3309-D0AE6BEAD3A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4271"/>
          <a:stretch/>
        </p:blipFill>
        <p:spPr>
          <a:xfrm>
            <a:off x="-11956" y="0"/>
            <a:ext cx="4356100" cy="6858000"/>
          </a:xfrm>
          <a:prstGeom prst="rect">
            <a:avLst/>
          </a:prstGeom>
        </p:spPr>
      </p:pic>
      <p:sp>
        <p:nvSpPr>
          <p:cNvPr id="4" name="Rectangle 3">
            <a:extLst>
              <a:ext uri="{FF2B5EF4-FFF2-40B4-BE49-F238E27FC236}">
                <a16:creationId xmlns:a16="http://schemas.microsoft.com/office/drawing/2014/main" id="{D5BB20F6-3BF0-1EF8-34BB-53E93F577668}"/>
              </a:ext>
            </a:extLst>
          </p:cNvPr>
          <p:cNvSpPr/>
          <p:nvPr userDrawn="1"/>
        </p:nvSpPr>
        <p:spPr bwMode="auto">
          <a:xfrm>
            <a:off x="0" y="0"/>
            <a:ext cx="4356100"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tx1"/>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7184301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FBA90455-9809-B6D8-2D41-0929AEE07C1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4271"/>
          <a:stretch/>
        </p:blipFill>
        <p:spPr>
          <a:xfrm>
            <a:off x="0" y="0"/>
            <a:ext cx="4356100" cy="6858000"/>
          </a:xfrm>
          <a:prstGeom prst="rect">
            <a:avLst/>
          </a:prstGeom>
        </p:spPr>
      </p:pic>
      <p:sp>
        <p:nvSpPr>
          <p:cNvPr id="4" name="Rectangle 3">
            <a:extLst>
              <a:ext uri="{FF2B5EF4-FFF2-40B4-BE49-F238E27FC236}">
                <a16:creationId xmlns:a16="http://schemas.microsoft.com/office/drawing/2014/main" id="{A5F2023B-7AE5-69C3-01A0-9B1BB63BF268}"/>
              </a:ext>
            </a:extLst>
          </p:cNvPr>
          <p:cNvSpPr/>
          <p:nvPr userDrawn="1"/>
        </p:nvSpPr>
        <p:spPr bwMode="auto">
          <a:xfrm>
            <a:off x="0" y="0"/>
            <a:ext cx="4356100"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tx1"/>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32315040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side by side 03">
    <p:bg>
      <p:bgPr>
        <a:solidFill>
          <a:schemeClr val="bg1"/>
        </a:soli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82217560-9E17-DBA8-D5FA-9ED06F30B0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35751"/>
          <a:stretch/>
        </p:blipFill>
        <p:spPr>
          <a:xfrm>
            <a:off x="0" y="0"/>
            <a:ext cx="7833296" cy="6858000"/>
          </a:xfrm>
          <a:prstGeom prst="rect">
            <a:avLst/>
          </a:prstGeom>
        </p:spPr>
      </p:pic>
      <p:sp>
        <p:nvSpPr>
          <p:cNvPr id="2" name="Rectangle 1">
            <a:extLst>
              <a:ext uri="{FF2B5EF4-FFF2-40B4-BE49-F238E27FC236}">
                <a16:creationId xmlns:a16="http://schemas.microsoft.com/office/drawing/2014/main" id="{37207726-2370-6483-1AFF-42CB361BBAEA}"/>
              </a:ext>
            </a:extLst>
          </p:cNvPr>
          <p:cNvSpPr/>
          <p:nvPr userDrawn="1"/>
        </p:nvSpPr>
        <p:spPr bwMode="auto">
          <a:xfrm>
            <a:off x="-1" y="0"/>
            <a:ext cx="7833295"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
        <p:nvSpPr>
          <p:cNvPr id="5" name="Title 4">
            <a:extLst>
              <a:ext uri="{FF2B5EF4-FFF2-40B4-BE49-F238E27FC236}">
                <a16:creationId xmlns:a16="http://schemas.microsoft.com/office/drawing/2014/main" id="{F45EB2DC-BE70-8B81-B0B7-6D73ADBFBE0A}"/>
              </a:ext>
            </a:extLst>
          </p:cNvPr>
          <p:cNvSpPr>
            <a:spLocks noGrp="1"/>
          </p:cNvSpPr>
          <p:nvPr>
            <p:ph type="title" hasCustomPrompt="1"/>
          </p:nvPr>
        </p:nvSpPr>
        <p:spPr>
          <a:xfrm>
            <a:off x="588263" y="457200"/>
            <a:ext cx="6084000" cy="553998"/>
          </a:xfrm>
        </p:spPr>
        <p:txBody>
          <a:bodyPr/>
          <a:lstStyle>
            <a:lvl1pPr>
              <a:defRPr>
                <a:solidFill>
                  <a:schemeClr val="tx1"/>
                </a:solidFill>
              </a:defRPr>
            </a:lvl1pPr>
          </a:lstStyle>
          <a:p>
            <a:r>
              <a:rPr lang="en-US"/>
              <a:t>Title</a:t>
            </a:r>
            <a:endParaRPr lang="en-CA"/>
          </a:p>
        </p:txBody>
      </p:sp>
    </p:spTree>
    <p:extLst>
      <p:ext uri="{BB962C8B-B14F-4D97-AF65-F5344CB8AC3E}">
        <p14:creationId xmlns:p14="http://schemas.microsoft.com/office/powerpoint/2010/main" val="4230164293"/>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pic List">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E8E3F90-45CE-A83F-3C0D-8D5FC1BBE7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Rectangle: Rounded Corners 7">
            <a:extLst>
              <a:ext uri="{FF2B5EF4-FFF2-40B4-BE49-F238E27FC236}">
                <a16:creationId xmlns:a16="http://schemas.microsoft.com/office/drawing/2014/main" id="{372437A2-AE69-71ED-390F-3AD72B170687}"/>
              </a:ext>
            </a:extLst>
          </p:cNvPr>
          <p:cNvSpPr/>
          <p:nvPr userDrawn="1"/>
        </p:nvSpPr>
        <p:spPr bwMode="auto">
          <a:xfrm>
            <a:off x="3770290" y="585787"/>
            <a:ext cx="7746520" cy="5683249"/>
          </a:xfrm>
          <a:prstGeom prst="roundRect">
            <a:avLst>
              <a:gd name="adj" fmla="val 3567"/>
            </a:avLst>
          </a:prstGeom>
          <a:gradFill>
            <a:gsLst>
              <a:gs pos="0">
                <a:schemeClr val="tx1"/>
              </a:gs>
              <a:gs pos="100000">
                <a:schemeClr val="accent1">
                  <a:lumMod val="20000"/>
                  <a:lumOff val="80000"/>
                </a:schemeClr>
              </a:gs>
            </a:gsLst>
            <a:lin ang="2400000" scaled="0"/>
          </a:gradFill>
          <a:ln>
            <a:noFill/>
          </a:ln>
          <a:effectLst>
            <a:outerShdw blurRad="2794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2629499" cy="5683250"/>
          </a:xfrm>
        </p:spPr>
        <p:txBody>
          <a:bodyPr anchor="ctr">
            <a:noAutofit/>
          </a:bodyPr>
          <a:lstStyle>
            <a:lvl1pPr algn="l">
              <a:defRPr sz="3600">
                <a:solidFill>
                  <a:schemeClr val="bg1"/>
                </a:solidFill>
              </a:defRPr>
            </a:lvl1pPr>
          </a:lstStyle>
          <a:p>
            <a:r>
              <a:rPr lang="en-US"/>
              <a:t>Subheading</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282311" y="1299377"/>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2">
            <a:extLst>
              <a:ext uri="{FF2B5EF4-FFF2-40B4-BE49-F238E27FC236}">
                <a16:creationId xmlns:a16="http://schemas.microsoft.com/office/drawing/2014/main" id="{3EF51500-7F31-99F7-4E08-706B57C7B9B5}"/>
              </a:ext>
            </a:extLst>
          </p:cNvPr>
          <p:cNvSpPr>
            <a:spLocks noGrp="1"/>
          </p:cNvSpPr>
          <p:nvPr>
            <p:ph type="body" sz="quarter" idx="12"/>
          </p:nvPr>
        </p:nvSpPr>
        <p:spPr>
          <a:xfrm>
            <a:off x="5282311" y="2504069"/>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7EB930E5-4B0E-6780-ADDA-04A29A46287E}"/>
              </a:ext>
            </a:extLst>
          </p:cNvPr>
          <p:cNvSpPr>
            <a:spLocks noGrp="1"/>
          </p:cNvSpPr>
          <p:nvPr>
            <p:ph type="body" sz="quarter" idx="13"/>
          </p:nvPr>
        </p:nvSpPr>
        <p:spPr>
          <a:xfrm>
            <a:off x="5282311" y="3708761"/>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1C192156-0C90-14D8-779B-222D86A9A401}"/>
              </a:ext>
            </a:extLst>
          </p:cNvPr>
          <p:cNvSpPr>
            <a:spLocks noGrp="1"/>
          </p:cNvSpPr>
          <p:nvPr>
            <p:ph type="body" sz="quarter" idx="14"/>
          </p:nvPr>
        </p:nvSpPr>
        <p:spPr>
          <a:xfrm>
            <a:off x="5282311" y="4913452"/>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846978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text side by side 4">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4" name="Straight Connector 3">
            <a:extLst>
              <a:ext uri="{FF2B5EF4-FFF2-40B4-BE49-F238E27FC236}">
                <a16:creationId xmlns:a16="http://schemas.microsoft.com/office/drawing/2014/main" id="{DCE60B72-F858-4063-747A-49FFC2B61214}"/>
              </a:ext>
              <a:ext uri="{C183D7F6-B498-43B3-948B-1728B52AA6E4}">
                <adec:decorative xmlns:adec="http://schemas.microsoft.com/office/drawing/2017/decorative" val="1"/>
              </a:ext>
            </a:extLst>
          </p:cNvPr>
          <p:cNvCxnSpPr>
            <a:cxnSpLocks/>
          </p:cNvCxnSpPr>
          <p:nvPr userDrawn="1"/>
        </p:nvCxnSpPr>
        <p:spPr>
          <a:xfrm>
            <a:off x="4356100" y="2578100"/>
            <a:ext cx="0" cy="1701800"/>
          </a:xfrm>
          <a:prstGeom prst="line">
            <a:avLst/>
          </a:prstGeom>
          <a:ln w="57150">
            <a:gradFill flip="none" rotWithShape="1">
              <a:gsLst>
                <a:gs pos="0">
                  <a:schemeClr val="accent2"/>
                </a:gs>
                <a:gs pos="100000">
                  <a:schemeClr val="accent3"/>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19922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Pr>
        <a:solidFill>
          <a:schemeClr val="tx2"/>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38100">
            <a:gradFill flip="none" rotWithShape="1">
              <a:gsLst>
                <a:gs pos="0">
                  <a:schemeClr val="accent1"/>
                </a:gs>
                <a:gs pos="100000">
                  <a:schemeClr val="accent3"/>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bg1"/>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9875731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Large Number Divider 1">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921162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117391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
        <p:nvSpPr>
          <p:cNvPr id="10" name="Text Placeholder 11">
            <a:extLst>
              <a:ext uri="{FF2B5EF4-FFF2-40B4-BE49-F238E27FC236}">
                <a16:creationId xmlns:a16="http://schemas.microsoft.com/office/drawing/2014/main" id="{86E03C92-DE23-2C43-07EE-49514B3D2740}"/>
              </a:ext>
            </a:extLst>
          </p:cNvPr>
          <p:cNvSpPr>
            <a:spLocks noGrp="1"/>
          </p:cNvSpPr>
          <p:nvPr>
            <p:ph type="body" sz="quarter" idx="16" hasCustomPrompt="1"/>
          </p:nvPr>
        </p:nvSpPr>
        <p:spPr>
          <a:xfrm>
            <a:off x="585217" y="316933"/>
            <a:ext cx="3536997" cy="338554"/>
          </a:xfrm>
        </p:spPr>
        <p:txBody>
          <a:bodyPr anchor="t"/>
          <a:lstStyle>
            <a:lvl1pPr marL="0" indent="0" algn="l" defTabSz="914367" rtl="0" eaLnBrk="1" latinLnBrk="0" hangingPunct="1">
              <a:spcBef>
                <a:spcPts val="0"/>
              </a:spcBef>
              <a:buNone/>
              <a:defRPr lang="en-US" sz="1600" kern="1200" dirty="0">
                <a:solidFill>
                  <a:schemeClr val="tx1"/>
                </a:solidFill>
                <a:latin typeface="+mj-lt"/>
                <a:ea typeface="+mn-ea"/>
                <a:cs typeface="+mn-cs"/>
              </a:defRPr>
            </a:lvl1pPr>
          </a:lstStyle>
          <a:p>
            <a:pPr lvl="0"/>
            <a:r>
              <a:rPr lang="en-US"/>
              <a:t>Click to edit text styles</a:t>
            </a:r>
          </a:p>
        </p:txBody>
      </p:sp>
    </p:spTree>
    <p:extLst>
      <p:ext uri="{BB962C8B-B14F-4D97-AF65-F5344CB8AC3E}">
        <p14:creationId xmlns:p14="http://schemas.microsoft.com/office/powerpoint/2010/main" val="1412281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238285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76350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9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94801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804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 Texture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9090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434624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65738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pendix Blue Bkg">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3152001"/>
            <a:ext cx="5367338" cy="553998"/>
          </a:xfrm>
        </p:spPr>
        <p:txBody>
          <a:bodyPr anchor="b"/>
          <a:lstStyle>
            <a:lvl1pPr marL="0" indent="0">
              <a:buNone/>
              <a:defRPr sz="3600">
                <a:gradFill>
                  <a:gsLst>
                    <a:gs pos="0">
                      <a:schemeClr val="bg2"/>
                    </a:gs>
                    <a:gs pos="100000">
                      <a:schemeClr val="accent3"/>
                    </a:gs>
                  </a:gsLst>
                  <a:lin ang="2400000" scaled="0"/>
                </a:gradFill>
                <a:latin typeface="+mj-lt"/>
              </a:defRPr>
            </a:lvl1pPr>
          </a:lstStyle>
          <a:p>
            <a:pPr lvl="0"/>
            <a:r>
              <a:rPr lang="en-US"/>
              <a:t>Appendix</a:t>
            </a:r>
          </a:p>
        </p:txBody>
      </p:sp>
    </p:spTree>
    <p:extLst>
      <p:ext uri="{BB962C8B-B14F-4D97-AF65-F5344CB8AC3E}">
        <p14:creationId xmlns:p14="http://schemas.microsoft.com/office/powerpoint/2010/main" val="32990807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B75252BC-2A15-9D3D-49E1-459E5722BAC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61070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8B5C33E8-E107-AC85-0D68-58D82E07DFB8}"/>
              </a:ext>
            </a:extLst>
          </p:cNvPr>
          <p:cNvSpPr>
            <a:spLocks noGrp="1"/>
          </p:cNvSpPr>
          <p:nvPr>
            <p:ph type="body" sz="quarter" idx="11"/>
          </p:nvPr>
        </p:nvSpPr>
        <p:spPr>
          <a:xfrm>
            <a:off x="585788" y="959260"/>
            <a:ext cx="1101725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2375696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955445-9897-4F4A-1AC6-E3E7C73BEB1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11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FB1129D1-6431-564C-8572-607F580F1A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50725" y="0"/>
            <a:ext cx="7941275" cy="6858000"/>
          </a:xfrm>
          <a:prstGeom prst="rect">
            <a:avLst/>
          </a:prstGeom>
        </p:spPr>
      </p:pic>
      <p:sp>
        <p:nvSpPr>
          <p:cNvPr id="15" name="Rectangle 14">
            <a:extLst>
              <a:ext uri="{FF2B5EF4-FFF2-40B4-BE49-F238E27FC236}">
                <a16:creationId xmlns:a16="http://schemas.microsoft.com/office/drawing/2014/main" id="{7870CCD2-DC01-EA68-D65D-9ACFB35746D8}"/>
              </a:ext>
            </a:extLst>
          </p:cNvPr>
          <p:cNvSpPr/>
          <p:nvPr userDrawn="1"/>
        </p:nvSpPr>
        <p:spPr bwMode="auto">
          <a:xfrm>
            <a:off x="4250725" y="0"/>
            <a:ext cx="7941275"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ext Placeholder 3"/>
          <p:cNvSpPr>
            <a:spLocks noGrp="1"/>
          </p:cNvSpPr>
          <p:nvPr>
            <p:ph type="body" sz="quarter" idx="10"/>
          </p:nvPr>
        </p:nvSpPr>
        <p:spPr>
          <a:xfrm>
            <a:off x="584199" y="2827164"/>
            <a:ext cx="3172989" cy="184666"/>
          </a:xfrm>
        </p:spPr>
        <p:txBody>
          <a:bodyPr wrap="square">
            <a:spAutoFit/>
          </a:bodyPr>
          <a:lstStyle>
            <a:lvl1pPr marL="0" indent="0">
              <a:lnSpc>
                <a:spcPct val="100000"/>
              </a:lnSpc>
              <a:spcBef>
                <a:spcPts val="600"/>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7" name="TextBox 6">
            <a:extLst>
              <a:ext uri="{FF2B5EF4-FFF2-40B4-BE49-F238E27FC236}">
                <a16:creationId xmlns:a16="http://schemas.microsoft.com/office/drawing/2014/main" id="{9ED63FA2-4790-49C1-9B78-C6EC890A16DD}"/>
              </a:ext>
            </a:extLst>
          </p:cNvPr>
          <p:cNvSpPr txBox="1"/>
          <p:nvPr userDrawn="1"/>
        </p:nvSpPr>
        <p:spPr>
          <a:xfrm>
            <a:off x="585231" y="5455510"/>
            <a:ext cx="1560877" cy="276999"/>
          </a:xfrm>
          <a:prstGeom prst="rect">
            <a:avLst/>
          </a:prstGeom>
          <a:noFill/>
        </p:spPr>
        <p:txBody>
          <a:bodyPr wrap="square" lIns="0">
            <a:spAutoFit/>
          </a:bodyPr>
          <a:lstStyle/>
          <a:p>
            <a:r>
              <a:rPr lang="en-GB" sz="1200" b="0">
                <a:solidFill>
                  <a:schemeClr val="accent3"/>
                </a:solidFill>
                <a:latin typeface="+mj-lt"/>
              </a:rPr>
              <a:t>Customer resources</a:t>
            </a:r>
          </a:p>
        </p:txBody>
      </p:sp>
      <p:sp>
        <p:nvSpPr>
          <p:cNvPr id="8" name="TextBox 7">
            <a:extLst>
              <a:ext uri="{FF2B5EF4-FFF2-40B4-BE49-F238E27FC236}">
                <a16:creationId xmlns:a16="http://schemas.microsoft.com/office/drawing/2014/main" id="{E2B81701-DDCA-43B6-9C68-636E43E7EBF6}"/>
              </a:ext>
            </a:extLst>
          </p:cNvPr>
          <p:cNvSpPr txBox="1"/>
          <p:nvPr userDrawn="1"/>
        </p:nvSpPr>
        <p:spPr>
          <a:xfrm>
            <a:off x="2331002" y="5455510"/>
            <a:ext cx="1560877" cy="276999"/>
          </a:xfrm>
          <a:prstGeom prst="rect">
            <a:avLst/>
          </a:prstGeom>
          <a:noFill/>
        </p:spPr>
        <p:txBody>
          <a:bodyPr wrap="square" lIns="0">
            <a:spAutoFit/>
          </a:bodyPr>
          <a:lstStyle/>
          <a:p>
            <a:r>
              <a:rPr lang="en-GB" sz="1200" b="0">
                <a:solidFill>
                  <a:schemeClr val="accent3"/>
                </a:solidFill>
                <a:latin typeface="+mj-lt"/>
              </a:rPr>
              <a:t>Microsoft resources</a:t>
            </a:r>
          </a:p>
        </p:txBody>
      </p:sp>
      <p:sp>
        <p:nvSpPr>
          <p:cNvPr id="10" name="Text Placeholder 9">
            <a:extLst>
              <a:ext uri="{FF2B5EF4-FFF2-40B4-BE49-F238E27FC236}">
                <a16:creationId xmlns:a16="http://schemas.microsoft.com/office/drawing/2014/main" id="{C996942E-E982-4695-91C8-296676E06061}"/>
              </a:ext>
            </a:extLst>
          </p:cNvPr>
          <p:cNvSpPr>
            <a:spLocks noGrp="1"/>
          </p:cNvSpPr>
          <p:nvPr>
            <p:ph type="body" sz="quarter" idx="13"/>
          </p:nvPr>
        </p:nvSpPr>
        <p:spPr>
          <a:xfrm>
            <a:off x="584200"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3" name="Text Placeholder 9">
            <a:extLst>
              <a:ext uri="{FF2B5EF4-FFF2-40B4-BE49-F238E27FC236}">
                <a16:creationId xmlns:a16="http://schemas.microsoft.com/office/drawing/2014/main" id="{D2F6B756-204A-4346-90B3-21CCEA788C54}"/>
              </a:ext>
            </a:extLst>
          </p:cNvPr>
          <p:cNvSpPr>
            <a:spLocks noGrp="1"/>
          </p:cNvSpPr>
          <p:nvPr>
            <p:ph type="body" sz="quarter" idx="14"/>
          </p:nvPr>
        </p:nvSpPr>
        <p:spPr>
          <a:xfrm>
            <a:off x="2331002"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4" name="TextBox 13">
            <a:extLst>
              <a:ext uri="{FF2B5EF4-FFF2-40B4-BE49-F238E27FC236}">
                <a16:creationId xmlns:a16="http://schemas.microsoft.com/office/drawing/2014/main" id="{21DD2AD0-CCED-48C0-9FE6-DBA1904206B6}"/>
              </a:ext>
            </a:extLst>
          </p:cNvPr>
          <p:cNvSpPr txBox="1"/>
          <p:nvPr userDrawn="1"/>
        </p:nvSpPr>
        <p:spPr>
          <a:xfrm>
            <a:off x="585231" y="1967147"/>
            <a:ext cx="1560877" cy="276999"/>
          </a:xfrm>
          <a:prstGeom prst="rect">
            <a:avLst/>
          </a:prstGeom>
          <a:noFill/>
        </p:spPr>
        <p:txBody>
          <a:bodyPr wrap="square" lIns="0">
            <a:spAutoFit/>
          </a:bodyPr>
          <a:lstStyle/>
          <a:p>
            <a:r>
              <a:rPr lang="en-GB" sz="1200" b="0">
                <a:solidFill>
                  <a:schemeClr val="accent3"/>
                </a:solidFill>
                <a:latin typeface="+mj-lt"/>
              </a:rPr>
              <a:t>Preparation:</a:t>
            </a:r>
          </a:p>
        </p:txBody>
      </p:sp>
      <p:sp>
        <p:nvSpPr>
          <p:cNvPr id="18" name="TextBox 17">
            <a:extLst>
              <a:ext uri="{FF2B5EF4-FFF2-40B4-BE49-F238E27FC236}">
                <a16:creationId xmlns:a16="http://schemas.microsoft.com/office/drawing/2014/main" id="{ACA30D9B-ACBA-402A-944D-6980A078F33B}"/>
              </a:ext>
            </a:extLst>
          </p:cNvPr>
          <p:cNvSpPr txBox="1"/>
          <p:nvPr userDrawn="1"/>
        </p:nvSpPr>
        <p:spPr>
          <a:xfrm>
            <a:off x="585231" y="2254832"/>
            <a:ext cx="1560877" cy="276999"/>
          </a:xfrm>
          <a:prstGeom prst="rect">
            <a:avLst/>
          </a:prstGeom>
          <a:noFill/>
        </p:spPr>
        <p:txBody>
          <a:bodyPr wrap="square" lIns="0">
            <a:spAutoFit/>
          </a:bodyPr>
          <a:lstStyle/>
          <a:p>
            <a:r>
              <a:rPr lang="en-GB" sz="1200" b="0">
                <a:solidFill>
                  <a:schemeClr val="accent3"/>
                </a:solidFill>
                <a:latin typeface="+mj-lt"/>
              </a:rPr>
              <a:t>Delivery:</a:t>
            </a:r>
          </a:p>
        </p:txBody>
      </p:sp>
      <p:sp>
        <p:nvSpPr>
          <p:cNvPr id="19" name="TextBox 18">
            <a:extLst>
              <a:ext uri="{FF2B5EF4-FFF2-40B4-BE49-F238E27FC236}">
                <a16:creationId xmlns:a16="http://schemas.microsoft.com/office/drawing/2014/main" id="{F9F2C5F3-81CD-42CD-BCFD-7A3AA6404FD1}"/>
              </a:ext>
            </a:extLst>
          </p:cNvPr>
          <p:cNvSpPr txBox="1"/>
          <p:nvPr userDrawn="1"/>
        </p:nvSpPr>
        <p:spPr>
          <a:xfrm>
            <a:off x="585231" y="2542516"/>
            <a:ext cx="1560877" cy="276999"/>
          </a:xfrm>
          <a:prstGeom prst="rect">
            <a:avLst/>
          </a:prstGeom>
          <a:noFill/>
        </p:spPr>
        <p:txBody>
          <a:bodyPr wrap="square" lIns="0">
            <a:spAutoFit/>
          </a:bodyPr>
          <a:lstStyle/>
          <a:p>
            <a:r>
              <a:rPr lang="en-GB" sz="1200" b="0">
                <a:solidFill>
                  <a:schemeClr val="accent3"/>
                </a:solidFill>
                <a:latin typeface="+mj-lt"/>
              </a:rPr>
              <a:t>Summary:</a:t>
            </a:r>
          </a:p>
        </p:txBody>
      </p:sp>
      <p:sp>
        <p:nvSpPr>
          <p:cNvPr id="23" name="Text Placeholder 3">
            <a:extLst>
              <a:ext uri="{FF2B5EF4-FFF2-40B4-BE49-F238E27FC236}">
                <a16:creationId xmlns:a16="http://schemas.microsoft.com/office/drawing/2014/main" id="{D616DB0C-0C38-4410-9916-301FB5186663}"/>
              </a:ext>
            </a:extLst>
          </p:cNvPr>
          <p:cNvSpPr>
            <a:spLocks noGrp="1"/>
          </p:cNvSpPr>
          <p:nvPr>
            <p:ph type="body" sz="quarter" idx="15"/>
          </p:nvPr>
        </p:nvSpPr>
        <p:spPr>
          <a:xfrm>
            <a:off x="1555768" y="2013312"/>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0A0455A-2312-4C93-BF92-338DE4C1D7A1}"/>
              </a:ext>
            </a:extLst>
          </p:cNvPr>
          <p:cNvSpPr>
            <a:spLocks noGrp="1"/>
          </p:cNvSpPr>
          <p:nvPr>
            <p:ph type="body" sz="quarter" idx="16"/>
          </p:nvPr>
        </p:nvSpPr>
        <p:spPr>
          <a:xfrm>
            <a:off x="1555768" y="2295101"/>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8" name="Text Placeholder 3">
            <a:extLst>
              <a:ext uri="{FF2B5EF4-FFF2-40B4-BE49-F238E27FC236}">
                <a16:creationId xmlns:a16="http://schemas.microsoft.com/office/drawing/2014/main" id="{C472BC81-0EF6-4309-A0E8-0C87F6786422}"/>
              </a:ext>
            </a:extLst>
          </p:cNvPr>
          <p:cNvSpPr>
            <a:spLocks noGrp="1"/>
          </p:cNvSpPr>
          <p:nvPr>
            <p:ph type="body" sz="quarter" idx="17"/>
          </p:nvPr>
        </p:nvSpPr>
        <p:spPr>
          <a:xfrm>
            <a:off x="4709426" y="713868"/>
            <a:ext cx="652270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9" name="Text Placeholder 3">
            <a:extLst>
              <a:ext uri="{FF2B5EF4-FFF2-40B4-BE49-F238E27FC236}">
                <a16:creationId xmlns:a16="http://schemas.microsoft.com/office/drawing/2014/main" id="{568FF79F-E395-4ECE-97A4-BEF4293755C2}"/>
              </a:ext>
            </a:extLst>
          </p:cNvPr>
          <p:cNvSpPr>
            <a:spLocks noGrp="1"/>
          </p:cNvSpPr>
          <p:nvPr>
            <p:ph type="body" sz="quarter" idx="18"/>
          </p:nvPr>
        </p:nvSpPr>
        <p:spPr>
          <a:xfrm>
            <a:off x="4709426" y="3285893"/>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0" name="Text Placeholder 3">
            <a:extLst>
              <a:ext uri="{FF2B5EF4-FFF2-40B4-BE49-F238E27FC236}">
                <a16:creationId xmlns:a16="http://schemas.microsoft.com/office/drawing/2014/main" id="{781E55C7-03B8-452B-9281-A2B837B5A86A}"/>
              </a:ext>
            </a:extLst>
          </p:cNvPr>
          <p:cNvSpPr>
            <a:spLocks noGrp="1"/>
          </p:cNvSpPr>
          <p:nvPr>
            <p:ph type="body" sz="quarter" idx="19"/>
          </p:nvPr>
        </p:nvSpPr>
        <p:spPr>
          <a:xfrm>
            <a:off x="4709426" y="5513892"/>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2" name="Diagonal Stripe 10">
            <a:extLst>
              <a:ext uri="{FF2B5EF4-FFF2-40B4-BE49-F238E27FC236}">
                <a16:creationId xmlns:a16="http://schemas.microsoft.com/office/drawing/2014/main" id="{E00E7889-4B8A-46BC-8C6E-BC7F3A2CE0DE}"/>
              </a:ext>
            </a:extLst>
          </p:cNvPr>
          <p:cNvSpPr/>
          <p:nvPr/>
        </p:nvSpPr>
        <p:spPr bwMode="auto">
          <a:xfrm rot="5400000">
            <a:off x="10893594" y="-79215"/>
            <a:ext cx="1219186" cy="1377615"/>
          </a:xfrm>
          <a:prstGeom prst="diagStripe">
            <a:avLst/>
          </a:prstGeom>
          <a:solidFill>
            <a:schemeClr val="bg1"/>
          </a:solidFill>
          <a:ln w="10795" cap="flat" cmpd="sng" algn="ctr">
            <a:noFill/>
            <a:prstDash val="solid"/>
          </a:ln>
          <a:effectLst>
            <a:outerShdw blurRad="152400" sx="101000" sy="101000" algn="tl" rotWithShape="0">
              <a:prstClr val="black">
                <a:alpha val="29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de-AT" sz="2000">
              <a:solidFill>
                <a:schemeClr val="accent1"/>
              </a:solidFill>
              <a:cs typeface="Segoe UI" pitchFamily="34" charset="0"/>
            </a:endParaRPr>
          </a:p>
        </p:txBody>
      </p:sp>
      <p:sp>
        <p:nvSpPr>
          <p:cNvPr id="33" name="TextBox 11">
            <a:extLst>
              <a:ext uri="{FF2B5EF4-FFF2-40B4-BE49-F238E27FC236}">
                <a16:creationId xmlns:a16="http://schemas.microsoft.com/office/drawing/2014/main" id="{2283F741-B0D6-4F96-8028-D69088C5FFAE}"/>
              </a:ext>
            </a:extLst>
          </p:cNvPr>
          <p:cNvSpPr txBox="1"/>
          <p:nvPr userDrawn="1"/>
        </p:nvSpPr>
        <p:spPr>
          <a:xfrm rot="2474928">
            <a:off x="11125817" y="344277"/>
            <a:ext cx="1097095" cy="246221"/>
          </a:xfrm>
          <a:prstGeom prst="rect">
            <a:avLst/>
          </a:prstGeom>
          <a:noFill/>
        </p:spPr>
        <p:txBody>
          <a:bodyPr wrap="none" lIns="0" tIns="0" rIns="0" bIns="0" rtlCol="0">
            <a:spAutoFit/>
          </a:bodyPr>
          <a:lstStyle/>
          <a:p>
            <a:pPr defTabSz="932509">
              <a:defRPr/>
            </a:pPr>
            <a:r>
              <a:rPr lang="en-US" sz="1600" spc="-71">
                <a:solidFill>
                  <a:schemeClr val="accent1"/>
                </a:solidFill>
                <a:latin typeface="+mj-lt"/>
              </a:rPr>
              <a:t>Core module</a:t>
            </a:r>
            <a:endParaRPr lang="de-AT" sz="2000" spc="-71">
              <a:solidFill>
                <a:schemeClr val="accent1"/>
              </a:solidFill>
              <a:latin typeface="+mj-lt"/>
            </a:endParaRPr>
          </a:p>
        </p:txBody>
      </p:sp>
      <p:cxnSp>
        <p:nvCxnSpPr>
          <p:cNvPr id="3" name="Straight Connector 2">
            <a:extLst>
              <a:ext uri="{FF2B5EF4-FFF2-40B4-BE49-F238E27FC236}">
                <a16:creationId xmlns:a16="http://schemas.microsoft.com/office/drawing/2014/main" id="{F67BF692-BD25-2DD9-A18C-7088370A79EA}"/>
              </a:ext>
            </a:extLst>
          </p:cNvPr>
          <p:cNvCxnSpPr/>
          <p:nvPr userDrawn="1"/>
        </p:nvCxnSpPr>
        <p:spPr>
          <a:xfrm>
            <a:off x="584200" y="5386333"/>
            <a:ext cx="3291840" cy="0"/>
          </a:xfrm>
          <a:prstGeom prst="line">
            <a:avLst/>
          </a:prstGeom>
          <a:noFill/>
          <a:ln>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 name="Title 1">
            <a:extLst>
              <a:ext uri="{FF2B5EF4-FFF2-40B4-BE49-F238E27FC236}">
                <a16:creationId xmlns:a16="http://schemas.microsoft.com/office/drawing/2014/main" id="{82E2A7C5-0FD6-27A3-1FF9-2232EA69696B}"/>
              </a:ext>
            </a:extLst>
          </p:cNvPr>
          <p:cNvSpPr>
            <a:spLocks noGrp="1"/>
          </p:cNvSpPr>
          <p:nvPr>
            <p:ph type="title"/>
          </p:nvPr>
        </p:nvSpPr>
        <p:spPr>
          <a:xfrm>
            <a:off x="584200" y="585791"/>
            <a:ext cx="3307679" cy="845608"/>
          </a:xfrm>
        </p:spPr>
        <p:txBody>
          <a:bodyPr anchor="t" anchorCtr="0"/>
          <a:lst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9925632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53264684-E94D-2ADC-5BC8-30E2407CD8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50725" y="0"/>
            <a:ext cx="7941275" cy="6858000"/>
          </a:xfrm>
          <a:prstGeom prst="rect">
            <a:avLst/>
          </a:prstGeom>
        </p:spPr>
      </p:pic>
      <p:sp>
        <p:nvSpPr>
          <p:cNvPr id="6" name="Rectangle 5">
            <a:extLst>
              <a:ext uri="{FF2B5EF4-FFF2-40B4-BE49-F238E27FC236}">
                <a16:creationId xmlns:a16="http://schemas.microsoft.com/office/drawing/2014/main" id="{61E2496E-EAAA-5AF0-0616-C740A793A618}"/>
              </a:ext>
            </a:extLst>
          </p:cNvPr>
          <p:cNvSpPr/>
          <p:nvPr userDrawn="1"/>
        </p:nvSpPr>
        <p:spPr bwMode="auto">
          <a:xfrm>
            <a:off x="4250725" y="0"/>
            <a:ext cx="7941275"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ext Placeholder 3"/>
          <p:cNvSpPr>
            <a:spLocks noGrp="1"/>
          </p:cNvSpPr>
          <p:nvPr>
            <p:ph type="body" sz="quarter" idx="10"/>
          </p:nvPr>
        </p:nvSpPr>
        <p:spPr>
          <a:xfrm>
            <a:off x="584199" y="3429000"/>
            <a:ext cx="3172989" cy="184666"/>
          </a:xfrm>
        </p:spPr>
        <p:txBody>
          <a:bodyPr wrap="square">
            <a:spAutoFit/>
          </a:bodyPr>
          <a:lstStyle>
            <a:lvl1pPr marL="0" indent="0">
              <a:lnSpc>
                <a:spcPct val="100000"/>
              </a:lnSpc>
              <a:spcBef>
                <a:spcPts val="600"/>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7" name="TextBox 6">
            <a:extLst>
              <a:ext uri="{FF2B5EF4-FFF2-40B4-BE49-F238E27FC236}">
                <a16:creationId xmlns:a16="http://schemas.microsoft.com/office/drawing/2014/main" id="{9ED63FA2-4790-49C1-9B78-C6EC890A16DD}"/>
              </a:ext>
            </a:extLst>
          </p:cNvPr>
          <p:cNvSpPr txBox="1"/>
          <p:nvPr userDrawn="1"/>
        </p:nvSpPr>
        <p:spPr>
          <a:xfrm>
            <a:off x="585231" y="5455510"/>
            <a:ext cx="1560877" cy="276999"/>
          </a:xfrm>
          <a:prstGeom prst="rect">
            <a:avLst/>
          </a:prstGeom>
          <a:noFill/>
        </p:spPr>
        <p:txBody>
          <a:bodyPr wrap="square" lIns="0">
            <a:spAutoFit/>
          </a:bodyPr>
          <a:lstStyle/>
          <a:p>
            <a:r>
              <a:rPr lang="en-GB" sz="1200" b="0">
                <a:solidFill>
                  <a:schemeClr val="accent3"/>
                </a:solidFill>
                <a:latin typeface="+mj-lt"/>
              </a:rPr>
              <a:t>Customer resources</a:t>
            </a:r>
          </a:p>
        </p:txBody>
      </p:sp>
      <p:sp>
        <p:nvSpPr>
          <p:cNvPr id="8" name="TextBox 7">
            <a:extLst>
              <a:ext uri="{FF2B5EF4-FFF2-40B4-BE49-F238E27FC236}">
                <a16:creationId xmlns:a16="http://schemas.microsoft.com/office/drawing/2014/main" id="{E2B81701-DDCA-43B6-9C68-636E43E7EBF6}"/>
              </a:ext>
            </a:extLst>
          </p:cNvPr>
          <p:cNvSpPr txBox="1"/>
          <p:nvPr userDrawn="1"/>
        </p:nvSpPr>
        <p:spPr>
          <a:xfrm>
            <a:off x="2331002" y="5455510"/>
            <a:ext cx="1560877" cy="276999"/>
          </a:xfrm>
          <a:prstGeom prst="rect">
            <a:avLst/>
          </a:prstGeom>
          <a:noFill/>
        </p:spPr>
        <p:txBody>
          <a:bodyPr wrap="square" lIns="0">
            <a:spAutoFit/>
          </a:bodyPr>
          <a:lstStyle/>
          <a:p>
            <a:r>
              <a:rPr lang="en-GB" sz="1200" b="0">
                <a:solidFill>
                  <a:schemeClr val="accent3"/>
                </a:solidFill>
                <a:latin typeface="+mj-lt"/>
              </a:rPr>
              <a:t>Microsoft resources</a:t>
            </a:r>
          </a:p>
        </p:txBody>
      </p:sp>
      <p:sp>
        <p:nvSpPr>
          <p:cNvPr id="10" name="Text Placeholder 9">
            <a:extLst>
              <a:ext uri="{FF2B5EF4-FFF2-40B4-BE49-F238E27FC236}">
                <a16:creationId xmlns:a16="http://schemas.microsoft.com/office/drawing/2014/main" id="{C996942E-E982-4695-91C8-296676E06061}"/>
              </a:ext>
            </a:extLst>
          </p:cNvPr>
          <p:cNvSpPr>
            <a:spLocks noGrp="1"/>
          </p:cNvSpPr>
          <p:nvPr>
            <p:ph type="body" sz="quarter" idx="13"/>
          </p:nvPr>
        </p:nvSpPr>
        <p:spPr>
          <a:xfrm>
            <a:off x="584200"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3" name="Text Placeholder 9">
            <a:extLst>
              <a:ext uri="{FF2B5EF4-FFF2-40B4-BE49-F238E27FC236}">
                <a16:creationId xmlns:a16="http://schemas.microsoft.com/office/drawing/2014/main" id="{D2F6B756-204A-4346-90B3-21CCEA788C54}"/>
              </a:ext>
            </a:extLst>
          </p:cNvPr>
          <p:cNvSpPr>
            <a:spLocks noGrp="1"/>
          </p:cNvSpPr>
          <p:nvPr>
            <p:ph type="body" sz="quarter" idx="14"/>
          </p:nvPr>
        </p:nvSpPr>
        <p:spPr>
          <a:xfrm>
            <a:off x="2331002"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4" name="TextBox 13">
            <a:extLst>
              <a:ext uri="{FF2B5EF4-FFF2-40B4-BE49-F238E27FC236}">
                <a16:creationId xmlns:a16="http://schemas.microsoft.com/office/drawing/2014/main" id="{21DD2AD0-CCED-48C0-9FE6-DBA1904206B6}"/>
              </a:ext>
            </a:extLst>
          </p:cNvPr>
          <p:cNvSpPr txBox="1"/>
          <p:nvPr userDrawn="1"/>
        </p:nvSpPr>
        <p:spPr>
          <a:xfrm>
            <a:off x="585231" y="2568983"/>
            <a:ext cx="1560877" cy="276999"/>
          </a:xfrm>
          <a:prstGeom prst="rect">
            <a:avLst/>
          </a:prstGeom>
          <a:noFill/>
        </p:spPr>
        <p:txBody>
          <a:bodyPr wrap="square" lIns="0">
            <a:spAutoFit/>
          </a:bodyPr>
          <a:lstStyle/>
          <a:p>
            <a:r>
              <a:rPr lang="en-GB" sz="1200" b="0">
                <a:solidFill>
                  <a:schemeClr val="accent3"/>
                </a:solidFill>
                <a:latin typeface="+mj-lt"/>
              </a:rPr>
              <a:t>Preparation:</a:t>
            </a:r>
          </a:p>
        </p:txBody>
      </p:sp>
      <p:sp>
        <p:nvSpPr>
          <p:cNvPr id="18" name="TextBox 17">
            <a:extLst>
              <a:ext uri="{FF2B5EF4-FFF2-40B4-BE49-F238E27FC236}">
                <a16:creationId xmlns:a16="http://schemas.microsoft.com/office/drawing/2014/main" id="{ACA30D9B-ACBA-402A-944D-6980A078F33B}"/>
              </a:ext>
            </a:extLst>
          </p:cNvPr>
          <p:cNvSpPr txBox="1"/>
          <p:nvPr userDrawn="1"/>
        </p:nvSpPr>
        <p:spPr>
          <a:xfrm>
            <a:off x="585231" y="2856668"/>
            <a:ext cx="1560877" cy="276999"/>
          </a:xfrm>
          <a:prstGeom prst="rect">
            <a:avLst/>
          </a:prstGeom>
          <a:noFill/>
        </p:spPr>
        <p:txBody>
          <a:bodyPr wrap="square" lIns="0">
            <a:spAutoFit/>
          </a:bodyPr>
          <a:lstStyle/>
          <a:p>
            <a:r>
              <a:rPr lang="en-GB" sz="1200" b="0">
                <a:solidFill>
                  <a:schemeClr val="accent3"/>
                </a:solidFill>
                <a:latin typeface="+mj-lt"/>
              </a:rPr>
              <a:t>Delivery:</a:t>
            </a:r>
          </a:p>
        </p:txBody>
      </p:sp>
      <p:sp>
        <p:nvSpPr>
          <p:cNvPr id="19" name="TextBox 18">
            <a:extLst>
              <a:ext uri="{FF2B5EF4-FFF2-40B4-BE49-F238E27FC236}">
                <a16:creationId xmlns:a16="http://schemas.microsoft.com/office/drawing/2014/main" id="{F9F2C5F3-81CD-42CD-BCFD-7A3AA6404FD1}"/>
              </a:ext>
            </a:extLst>
          </p:cNvPr>
          <p:cNvSpPr txBox="1"/>
          <p:nvPr userDrawn="1"/>
        </p:nvSpPr>
        <p:spPr>
          <a:xfrm>
            <a:off x="585231" y="3144352"/>
            <a:ext cx="1560877" cy="276999"/>
          </a:xfrm>
          <a:prstGeom prst="rect">
            <a:avLst/>
          </a:prstGeom>
          <a:noFill/>
        </p:spPr>
        <p:txBody>
          <a:bodyPr wrap="square" lIns="0">
            <a:spAutoFit/>
          </a:bodyPr>
          <a:lstStyle/>
          <a:p>
            <a:r>
              <a:rPr lang="en-GB" sz="1200" b="0">
                <a:solidFill>
                  <a:schemeClr val="accent3"/>
                </a:solidFill>
                <a:latin typeface="+mj-lt"/>
              </a:rPr>
              <a:t>Summary:</a:t>
            </a:r>
          </a:p>
        </p:txBody>
      </p:sp>
      <p:sp>
        <p:nvSpPr>
          <p:cNvPr id="23" name="Text Placeholder 3">
            <a:extLst>
              <a:ext uri="{FF2B5EF4-FFF2-40B4-BE49-F238E27FC236}">
                <a16:creationId xmlns:a16="http://schemas.microsoft.com/office/drawing/2014/main" id="{D616DB0C-0C38-4410-9916-301FB5186663}"/>
              </a:ext>
            </a:extLst>
          </p:cNvPr>
          <p:cNvSpPr>
            <a:spLocks noGrp="1"/>
          </p:cNvSpPr>
          <p:nvPr>
            <p:ph type="body" sz="quarter" idx="15"/>
          </p:nvPr>
        </p:nvSpPr>
        <p:spPr>
          <a:xfrm>
            <a:off x="1555768" y="2615148"/>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0A0455A-2312-4C93-BF92-338DE4C1D7A1}"/>
              </a:ext>
            </a:extLst>
          </p:cNvPr>
          <p:cNvSpPr>
            <a:spLocks noGrp="1"/>
          </p:cNvSpPr>
          <p:nvPr>
            <p:ph type="body" sz="quarter" idx="16"/>
          </p:nvPr>
        </p:nvSpPr>
        <p:spPr>
          <a:xfrm>
            <a:off x="1555768" y="2896937"/>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8" name="Text Placeholder 3">
            <a:extLst>
              <a:ext uri="{FF2B5EF4-FFF2-40B4-BE49-F238E27FC236}">
                <a16:creationId xmlns:a16="http://schemas.microsoft.com/office/drawing/2014/main" id="{C472BC81-0EF6-4309-A0E8-0C87F6786422}"/>
              </a:ext>
            </a:extLst>
          </p:cNvPr>
          <p:cNvSpPr>
            <a:spLocks noGrp="1"/>
          </p:cNvSpPr>
          <p:nvPr>
            <p:ph type="body" sz="quarter" idx="17"/>
          </p:nvPr>
        </p:nvSpPr>
        <p:spPr>
          <a:xfrm>
            <a:off x="4709426" y="713868"/>
            <a:ext cx="652270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9" name="Text Placeholder 3">
            <a:extLst>
              <a:ext uri="{FF2B5EF4-FFF2-40B4-BE49-F238E27FC236}">
                <a16:creationId xmlns:a16="http://schemas.microsoft.com/office/drawing/2014/main" id="{568FF79F-E395-4ECE-97A4-BEF4293755C2}"/>
              </a:ext>
            </a:extLst>
          </p:cNvPr>
          <p:cNvSpPr>
            <a:spLocks noGrp="1"/>
          </p:cNvSpPr>
          <p:nvPr>
            <p:ph type="body" sz="quarter" idx="18"/>
          </p:nvPr>
        </p:nvSpPr>
        <p:spPr>
          <a:xfrm>
            <a:off x="4709426" y="3285893"/>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0" name="Text Placeholder 3">
            <a:extLst>
              <a:ext uri="{FF2B5EF4-FFF2-40B4-BE49-F238E27FC236}">
                <a16:creationId xmlns:a16="http://schemas.microsoft.com/office/drawing/2014/main" id="{781E55C7-03B8-452B-9281-A2B837B5A86A}"/>
              </a:ext>
            </a:extLst>
          </p:cNvPr>
          <p:cNvSpPr>
            <a:spLocks noGrp="1"/>
          </p:cNvSpPr>
          <p:nvPr>
            <p:ph type="body" sz="quarter" idx="19"/>
          </p:nvPr>
        </p:nvSpPr>
        <p:spPr>
          <a:xfrm>
            <a:off x="4709426" y="5513892"/>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2" name="Diagonal Stripe 10">
            <a:extLst>
              <a:ext uri="{FF2B5EF4-FFF2-40B4-BE49-F238E27FC236}">
                <a16:creationId xmlns:a16="http://schemas.microsoft.com/office/drawing/2014/main" id="{E00E7889-4B8A-46BC-8C6E-BC7F3A2CE0DE}"/>
              </a:ext>
            </a:extLst>
          </p:cNvPr>
          <p:cNvSpPr/>
          <p:nvPr/>
        </p:nvSpPr>
        <p:spPr bwMode="auto">
          <a:xfrm rot="5400000">
            <a:off x="10893594" y="-79215"/>
            <a:ext cx="1219186" cy="1377615"/>
          </a:xfrm>
          <a:prstGeom prst="diagStripe">
            <a:avLst/>
          </a:prstGeom>
          <a:solidFill>
            <a:schemeClr val="bg1"/>
          </a:solidFill>
          <a:ln w="10795" cap="flat" cmpd="sng" algn="ctr">
            <a:noFill/>
            <a:prstDash val="solid"/>
          </a:ln>
          <a:effectLst>
            <a:outerShdw blurRad="152400" sx="101000" sy="101000" algn="tl" rotWithShape="0">
              <a:prstClr val="black">
                <a:alpha val="29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de-AT" sz="2000">
              <a:solidFill>
                <a:schemeClr val="accent1"/>
              </a:solidFill>
              <a:cs typeface="Segoe UI" pitchFamily="34" charset="0"/>
            </a:endParaRPr>
          </a:p>
        </p:txBody>
      </p:sp>
      <p:sp>
        <p:nvSpPr>
          <p:cNvPr id="33" name="TextBox 11">
            <a:extLst>
              <a:ext uri="{FF2B5EF4-FFF2-40B4-BE49-F238E27FC236}">
                <a16:creationId xmlns:a16="http://schemas.microsoft.com/office/drawing/2014/main" id="{2283F741-B0D6-4F96-8028-D69088C5FFAE}"/>
              </a:ext>
            </a:extLst>
          </p:cNvPr>
          <p:cNvSpPr txBox="1"/>
          <p:nvPr userDrawn="1"/>
        </p:nvSpPr>
        <p:spPr>
          <a:xfrm rot="2474928">
            <a:off x="11125817" y="344277"/>
            <a:ext cx="1097095" cy="246221"/>
          </a:xfrm>
          <a:prstGeom prst="rect">
            <a:avLst/>
          </a:prstGeom>
          <a:noFill/>
        </p:spPr>
        <p:txBody>
          <a:bodyPr wrap="none" lIns="0" tIns="0" rIns="0" bIns="0" rtlCol="0">
            <a:spAutoFit/>
          </a:bodyPr>
          <a:lstStyle/>
          <a:p>
            <a:pPr defTabSz="932509">
              <a:defRPr/>
            </a:pPr>
            <a:r>
              <a:rPr lang="en-US" sz="1600" spc="-71">
                <a:solidFill>
                  <a:schemeClr val="accent1"/>
                </a:solidFill>
                <a:latin typeface="+mj-lt"/>
              </a:rPr>
              <a:t>Core module</a:t>
            </a:r>
            <a:endParaRPr lang="de-AT" sz="2000" spc="-71">
              <a:solidFill>
                <a:schemeClr val="accent1"/>
              </a:solidFill>
              <a:latin typeface="+mj-lt"/>
            </a:endParaRPr>
          </a:p>
        </p:txBody>
      </p:sp>
      <p:cxnSp>
        <p:nvCxnSpPr>
          <p:cNvPr id="3" name="Straight Connector 2">
            <a:extLst>
              <a:ext uri="{FF2B5EF4-FFF2-40B4-BE49-F238E27FC236}">
                <a16:creationId xmlns:a16="http://schemas.microsoft.com/office/drawing/2014/main" id="{7855DF87-88F5-EAFB-CACB-7D167D1C8B45}"/>
              </a:ext>
            </a:extLst>
          </p:cNvPr>
          <p:cNvCxnSpPr/>
          <p:nvPr userDrawn="1"/>
        </p:nvCxnSpPr>
        <p:spPr>
          <a:xfrm>
            <a:off x="584200" y="5393828"/>
            <a:ext cx="3291840" cy="0"/>
          </a:xfrm>
          <a:prstGeom prst="line">
            <a:avLst/>
          </a:prstGeom>
          <a:noFill/>
          <a:ln>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1" name="Title 1">
            <a:extLst>
              <a:ext uri="{FF2B5EF4-FFF2-40B4-BE49-F238E27FC236}">
                <a16:creationId xmlns:a16="http://schemas.microsoft.com/office/drawing/2014/main" id="{D4E23952-CC05-53B7-6AE1-B541D8D062E3}"/>
              </a:ext>
            </a:extLst>
          </p:cNvPr>
          <p:cNvSpPr>
            <a:spLocks noGrp="1"/>
          </p:cNvSpPr>
          <p:nvPr>
            <p:ph type="title"/>
          </p:nvPr>
        </p:nvSpPr>
        <p:spPr>
          <a:xfrm>
            <a:off x="584200" y="585216"/>
            <a:ext cx="3307679" cy="861773"/>
          </a:xfrm>
        </p:spPr>
        <p:txBody>
          <a:bodyPr anchor="t" anchorCtr="0"/>
          <a:lst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9274055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844368"/>
            <a:ext cx="12379568" cy="3302698"/>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7" name="Text Placeholder 5">
            <a:extLst>
              <a:ext uri="{FF2B5EF4-FFF2-40B4-BE49-F238E27FC236}">
                <a16:creationId xmlns:a16="http://schemas.microsoft.com/office/drawing/2014/main" id="{0CE6E8CE-8F11-3F60-9DA8-1FD661975170}"/>
              </a:ext>
            </a:extLst>
          </p:cNvPr>
          <p:cNvSpPr>
            <a:spLocks noGrp="1"/>
          </p:cNvSpPr>
          <p:nvPr>
            <p:ph type="body" sz="quarter" idx="10"/>
          </p:nvPr>
        </p:nvSpPr>
        <p:spPr>
          <a:xfrm>
            <a:off x="594949" y="3033223"/>
            <a:ext cx="11025188" cy="498598"/>
          </a:xfrm>
          <a:noFill/>
        </p:spPr>
        <p:txBody>
          <a:bodyPr vert="horz" wrap="square" lIns="0" tIns="0" rIns="0" bIns="0" rtlCol="0" anchor="b" anchorCtr="0">
            <a:spAutoFit/>
          </a:bodyPr>
          <a:lstStyle>
            <a:lvl1pPr>
              <a:defRPr lang="en-US" sz="3600" b="0" cap="none" spc="-50" dirty="0">
                <a:ln w="3175">
                  <a:noFill/>
                </a:ln>
                <a:gradFill>
                  <a:gsLst>
                    <a:gs pos="22000">
                      <a:schemeClr val="accent2"/>
                    </a:gs>
                    <a:gs pos="100000">
                      <a:schemeClr val="accent3"/>
                    </a:gs>
                  </a:gsLst>
                  <a:lin ang="2400000" scaled="0"/>
                </a:gradFill>
                <a:effectLst/>
                <a:latin typeface="+mj-lt"/>
              </a:defRPr>
            </a:lvl1pPr>
          </a:lstStyle>
          <a:p>
            <a:pPr lvl="0">
              <a:lnSpc>
                <a:spcPct val="90000"/>
              </a:lnSpc>
              <a:spcBef>
                <a:spcPct val="0"/>
              </a:spcBef>
              <a:buNone/>
            </a:pPr>
            <a:r>
              <a:rPr lang="en-US"/>
              <a:t>Click to edit Master text styles</a:t>
            </a:r>
          </a:p>
        </p:txBody>
      </p:sp>
    </p:spTree>
    <p:extLst>
      <p:ext uri="{BB962C8B-B14F-4D97-AF65-F5344CB8AC3E}">
        <p14:creationId xmlns:p14="http://schemas.microsoft.com/office/powerpoint/2010/main" val="271910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844368"/>
            <a:ext cx="12379568" cy="3302698"/>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5">
            <a:extLst>
              <a:ext uri="{FF2B5EF4-FFF2-40B4-BE49-F238E27FC236}">
                <a16:creationId xmlns:a16="http://schemas.microsoft.com/office/drawing/2014/main" id="{0CE6E8CE-8F11-3F60-9DA8-1FD661975170}"/>
              </a:ext>
            </a:extLst>
          </p:cNvPr>
          <p:cNvSpPr>
            <a:spLocks noGrp="1"/>
          </p:cNvSpPr>
          <p:nvPr>
            <p:ph type="body" sz="quarter" idx="10"/>
          </p:nvPr>
        </p:nvSpPr>
        <p:spPr>
          <a:xfrm>
            <a:off x="594949" y="3033223"/>
            <a:ext cx="11025188" cy="498598"/>
          </a:xfrm>
          <a:noFill/>
        </p:spPr>
        <p:txBody>
          <a:bodyPr vert="horz" wrap="square" lIns="0" tIns="0" rIns="0" bIns="0" rtlCol="0" anchor="b" anchorCtr="0">
            <a:spAutoFit/>
          </a:bodyPr>
          <a:lstStyle>
            <a:lvl1pPr>
              <a:defRPr lang="en-US" sz="3600" b="0" cap="none" spc="-50" dirty="0">
                <a:ln w="3175">
                  <a:noFill/>
                </a:ln>
                <a:gradFill>
                  <a:gsLst>
                    <a:gs pos="22000">
                      <a:schemeClr val="accent2"/>
                    </a:gs>
                    <a:gs pos="100000">
                      <a:schemeClr val="accent3"/>
                    </a:gs>
                  </a:gsLst>
                  <a:lin ang="2400000" scaled="0"/>
                </a:gradFill>
                <a:effectLst/>
                <a:latin typeface="+mj-lt"/>
              </a:defRPr>
            </a:lvl1pPr>
          </a:lstStyle>
          <a:p>
            <a:pPr lvl="0">
              <a:lnSpc>
                <a:spcPct val="90000"/>
              </a:lnSpc>
              <a:spcBef>
                <a:spcPct val="0"/>
              </a:spcBef>
              <a:buNone/>
            </a:pPr>
            <a:r>
              <a:rPr lang="en-US"/>
              <a:t>Click to edit Master text styles</a:t>
            </a:r>
          </a:p>
        </p:txBody>
      </p:sp>
    </p:spTree>
    <p:extLst>
      <p:ext uri="{BB962C8B-B14F-4D97-AF65-F5344CB8AC3E}">
        <p14:creationId xmlns:p14="http://schemas.microsoft.com/office/powerpoint/2010/main" val="57145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 Main Hero">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572B204-BCCE-7ECF-F80E-C2E2E2E2809D}"/>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a:xfrm>
            <a:off x="584200" y="2179559"/>
            <a:ext cx="4412673" cy="1354217"/>
          </a:xfrm>
          <a:noFill/>
        </p:spPr>
        <p:txBody>
          <a:bodyPr wrap="square" lIns="0" tIns="0" rIns="0" bIns="0" anchor="b" anchorCtr="0">
            <a:spAutoFit/>
          </a:bodyPr>
          <a:lstStyle>
            <a:lvl1pPr>
              <a:defRPr lang="en-US" sz="4400" kern="1200" dirty="0">
                <a:solidFill>
                  <a:schemeClr val="tx1"/>
                </a:solidFill>
                <a:latin typeface="Segoe UI Semibold" panose="020B0702040204020203" pitchFamily="34" charset="0"/>
                <a:ea typeface="+mn-ea"/>
                <a:cs typeface="Segoe UI Semibold" panose="020B07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41267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782847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21064D9-920A-AAC7-DE35-4B5BB13C8619}"/>
              </a:ext>
              <a:ext uri="{C183D7F6-B498-43B3-948B-1728B52AA6E4}">
                <adec:decorative xmlns:adec="http://schemas.microsoft.com/office/drawing/2017/decorative" val="1"/>
              </a:ext>
            </a:extLst>
          </p:cNvPr>
          <p:cNvPicPr>
            <a:picLocks noChangeAspect="1"/>
          </p:cNvPicPr>
          <p:nvPr userDrawn="1"/>
        </p:nvPicPr>
        <p:blipFill rotWithShape="1">
          <a:blip r:embed="rId2"/>
          <a:srcRect l="10595" t="987" r="10595"/>
          <a:stretch/>
        </p:blipFill>
        <p:spPr>
          <a:xfrm>
            <a:off x="0" y="0"/>
            <a:ext cx="12192000" cy="6858000"/>
          </a:xfrm>
          <a:prstGeom prst="rect">
            <a:avLst/>
          </a:prstGeom>
        </p:spPr>
      </p:pic>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79235945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0CED5C-09CE-086B-058F-E86642850C00}"/>
              </a:ext>
              <a:ext uri="{C183D7F6-B498-43B3-948B-1728B52AA6E4}">
                <adec:decorative xmlns:adec="http://schemas.microsoft.com/office/drawing/2017/decorative" val="1"/>
              </a:ext>
            </a:extLst>
          </p:cNvPr>
          <p:cNvPicPr>
            <a:picLocks noChangeAspect="1"/>
          </p:cNvPicPr>
          <p:nvPr userDrawn="1"/>
        </p:nvPicPr>
        <p:blipFill rotWithShape="1">
          <a:blip r:embed="rId2"/>
          <a:srcRect l="10595" t="987" r="10595"/>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EADC449-E006-2BF9-CAC5-11C2B170B2D9}"/>
              </a:ext>
              <a:ext uri="{C183D7F6-B498-43B3-948B-1728B52AA6E4}">
                <adec:decorative xmlns:adec="http://schemas.microsoft.com/office/drawing/2017/decorative" val="1"/>
              </a:ext>
            </a:extLst>
          </p:cNvPr>
          <p:cNvSpPr/>
          <p:nvPr userDrawn="1"/>
        </p:nvSpPr>
        <p:spPr bwMode="auto">
          <a:xfrm rot="5400000">
            <a:off x="4897820" y="-4897821"/>
            <a:ext cx="2396359" cy="12192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1">
            <a:extLst>
              <a:ext uri="{FF2B5EF4-FFF2-40B4-BE49-F238E27FC236}">
                <a16:creationId xmlns:a16="http://schemas.microsoft.com/office/drawing/2014/main" id="{4242D82A-9DB1-584C-2E16-3D8B4469A143}"/>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Content Placeholder 3">
            <a:extLst>
              <a:ext uri="{FF2B5EF4-FFF2-40B4-BE49-F238E27FC236}">
                <a16:creationId xmlns:a16="http://schemas.microsoft.com/office/drawing/2014/main" id="{E6965A68-D388-7DD3-A305-B934A332BC28}"/>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6466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C6509B-1FCD-4661-D324-0322BAD4A3C0}"/>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59958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078AE-0BC3-48F9-87EC-2DB0CCE7E2AE}"/>
              </a:ext>
            </a:extLst>
          </p:cNvPr>
          <p:cNvSpPr>
            <a:spLocks noGrp="1"/>
          </p:cNvSpPr>
          <p:nvPr>
            <p:ph type="title"/>
          </p:nvPr>
        </p:nvSpPr>
        <p:spPr>
          <a:xfrm>
            <a:off x="1115568" y="548640"/>
            <a:ext cx="10168128" cy="1179576"/>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292A20DF-0829-4336-B59F-FF9D7AA9D8B6}"/>
              </a:ext>
            </a:extLst>
          </p:cNvPr>
          <p:cNvSpPr>
            <a:spLocks noGrp="1"/>
          </p:cNvSpPr>
          <p:nvPr>
            <p:ph sz="half" idx="1"/>
          </p:nvPr>
        </p:nvSpPr>
        <p:spPr>
          <a:xfrm>
            <a:off x="1115568" y="2478024"/>
            <a:ext cx="4937760"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935D01C-CF67-4DF6-B96C-FFC9D5BF847B}"/>
              </a:ext>
            </a:extLst>
          </p:cNvPr>
          <p:cNvSpPr>
            <a:spLocks noGrp="1"/>
          </p:cNvSpPr>
          <p:nvPr>
            <p:ph sz="half" idx="2"/>
          </p:nvPr>
        </p:nvSpPr>
        <p:spPr>
          <a:xfrm>
            <a:off x="6345936" y="2478024"/>
            <a:ext cx="4937760"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9BBD797-6031-4F82-8726-EAB757027FF5}"/>
              </a:ext>
            </a:extLst>
          </p:cNvPr>
          <p:cNvSpPr>
            <a:spLocks noGrp="1"/>
          </p:cNvSpPr>
          <p:nvPr>
            <p:ph type="dt" sz="half" idx="10"/>
          </p:nvPr>
        </p:nvSpPr>
        <p:spPr>
          <a:xfrm>
            <a:off x="1115568" y="6356350"/>
            <a:ext cx="2743200" cy="365125"/>
          </a:xfrm>
        </p:spPr>
        <p:txBody>
          <a:bodyPr/>
          <a:lstStyle/>
          <a:p>
            <a:fld id="{02AC24A9-CCB6-4F8D-B8DB-C2F3692CFA5A}" type="datetimeFigureOut">
              <a:rPr lang="en-US" smtClean="0"/>
              <a:t>1/18/2026</a:t>
            </a:fld>
            <a:endParaRPr lang="en-US"/>
          </a:p>
        </p:txBody>
      </p:sp>
      <p:sp>
        <p:nvSpPr>
          <p:cNvPr id="6" name="Footer Placeholder 5">
            <a:extLst>
              <a:ext uri="{FF2B5EF4-FFF2-40B4-BE49-F238E27FC236}">
                <a16:creationId xmlns:a16="http://schemas.microsoft.com/office/drawing/2014/main" id="{76B3F71C-B897-4909-A75E-8716AD49C1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78BC14-5BB1-405F-A6F3-C07230F085C8}"/>
              </a:ext>
            </a:extLst>
          </p:cNvPr>
          <p:cNvSpPr>
            <a:spLocks noGrp="1"/>
          </p:cNvSpPr>
          <p:nvPr>
            <p:ph type="sldNum" sz="quarter" idx="12"/>
          </p:nvPr>
        </p:nvSpPr>
        <p:spPr>
          <a:xfrm>
            <a:off x="8540496" y="6356350"/>
            <a:ext cx="2743200" cy="365125"/>
          </a:xfrm>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7181175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58CF-0758-490A-A084-C46443B9ABE8}"/>
              </a:ext>
            </a:extLst>
          </p:cNvPr>
          <p:cNvSpPr>
            <a:spLocks noGrp="1"/>
          </p:cNvSpPr>
          <p:nvPr>
            <p:ph type="title"/>
          </p:nvPr>
        </p:nvSpPr>
        <p:spPr>
          <a:xfrm>
            <a:off x="1115568" y="548640"/>
            <a:ext cx="10168128" cy="1179576"/>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21671183-B3CE-4F45-92FB-98290CA0E2CA}"/>
              </a:ext>
            </a:extLst>
          </p:cNvPr>
          <p:cNvSpPr>
            <a:spLocks noGrp="1"/>
          </p:cNvSpPr>
          <p:nvPr>
            <p:ph idx="1"/>
          </p:nvPr>
        </p:nvSpPr>
        <p:spPr>
          <a:xfrm>
            <a:off x="1115568" y="2478024"/>
            <a:ext cx="10168128"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7DED67-27EC-4D43-A21C-093C1DB04813}"/>
              </a:ext>
            </a:extLst>
          </p:cNvPr>
          <p:cNvSpPr>
            <a:spLocks noGrp="1"/>
          </p:cNvSpPr>
          <p:nvPr>
            <p:ph type="dt" sz="half" idx="10"/>
          </p:nvPr>
        </p:nvSpPr>
        <p:spPr>
          <a:xfrm>
            <a:off x="1115568" y="6356350"/>
            <a:ext cx="2743200" cy="365125"/>
          </a:xfrm>
        </p:spPr>
        <p:txBody>
          <a:bodyPr/>
          <a:lstStyle/>
          <a:p>
            <a:fld id="{02AC24A9-CCB6-4F8D-B8DB-C2F3692CFA5A}" type="datetimeFigureOut">
              <a:rPr lang="en-US" smtClean="0"/>
              <a:t>1/18/2026</a:t>
            </a:fld>
            <a:endParaRPr lang="en-US"/>
          </a:p>
        </p:txBody>
      </p:sp>
      <p:sp>
        <p:nvSpPr>
          <p:cNvPr id="5" name="Footer Placeholder 4">
            <a:extLst>
              <a:ext uri="{FF2B5EF4-FFF2-40B4-BE49-F238E27FC236}">
                <a16:creationId xmlns:a16="http://schemas.microsoft.com/office/drawing/2014/main" id="{36747CE3-4890-4BC1-94DB-5D49D02C99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3C5AD3-D79A-4D46-B25B-822FE0252511}"/>
              </a:ext>
            </a:extLst>
          </p:cNvPr>
          <p:cNvSpPr>
            <a:spLocks noGrp="1"/>
          </p:cNvSpPr>
          <p:nvPr>
            <p:ph type="sldNum" sz="quarter" idx="12"/>
          </p:nvPr>
        </p:nvSpPr>
        <p:spPr>
          <a:xfrm>
            <a:off x="8540496" y="6356350"/>
            <a:ext cx="2743200" cy="365125"/>
          </a:xfrm>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12819588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25921450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92443"/>
          </a:xfrm>
        </p:spPr>
        <p:txBody>
          <a:bodyPr vert="horz" wrap="square" lIns="0" tIns="0" rIns="0" bIns="0" rtlCol="0" anchor="t">
            <a:spAutoFit/>
          </a:bodyPr>
          <a:lstStyle>
            <a:lvl1pPr>
              <a:defRPr lang="en-US" sz="3200" dirty="0">
                <a:solidFill>
                  <a:schemeClr val="tx1"/>
                </a:solidFill>
              </a:defRPr>
            </a:lvl1pPr>
          </a:lstStyle>
          <a:p>
            <a:pPr marL="0" lvl="0"/>
            <a:endParaRPr lang="en-US"/>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42499379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15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r:embed="rId2">
                <a:alphaModFix amt="10000"/>
                <a:extLst>
                  <a:ext uri="{96DAC541-7B7A-43D3-8B79-37D633B846F1}">
                    <asvg:svgBlip xmlns:asvg="http://schemas.microsoft.com/office/drawing/2016/SVG/main" r:embed="rId3"/>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r>
              <a:rPr lang="en-US"/>
              <a:t>Click to edit Master title style</a:t>
            </a:r>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2204417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1970408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3225939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0"/>
            <a:ext cx="12379568" cy="4331731"/>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207695"/>
            <a:ext cx="4412673" cy="1354217"/>
          </a:xfrm>
          <a:noFill/>
        </p:spPr>
        <p:txBody>
          <a:bodyPr wrap="square" lIns="0" tIns="0" rIns="0" bIns="0" anchor="b" anchorCtr="0">
            <a:spAutoFit/>
          </a:bodyPr>
          <a:lstStyle>
            <a:lvl1pPr>
              <a:defRPr lang="en-US" sz="44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412673" cy="369332"/>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sz="2400"/>
              <a:t>Subtitle</a:t>
            </a:r>
            <a:endParaRPr lang="en-US"/>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6818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0"/>
            <a:ext cx="12379568" cy="4331731"/>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207695"/>
            <a:ext cx="4412673" cy="1354217"/>
          </a:xfrm>
          <a:noFill/>
        </p:spPr>
        <p:txBody>
          <a:bodyPr wrap="square" lIns="0" tIns="0" rIns="0" bIns="0" anchor="b" anchorCtr="0">
            <a:spAutoFit/>
          </a:bodyPr>
          <a:lstStyle>
            <a:lvl1pPr>
              <a:defRPr lang="en-US" sz="44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412673" cy="369332"/>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sz="2400"/>
              <a:t>Art of the Possible Kick-Off</a:t>
            </a:r>
            <a:endParaRPr lang="en-US"/>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043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5D5AA619-22C5-E624-FD06-098868F01DBA}"/>
              </a:ext>
            </a:extLst>
          </p:cNvPr>
          <p:cNvSpPr>
            <a:spLocks noGrp="1"/>
          </p:cNvSpPr>
          <p:nvPr>
            <p:ph type="title" hasCustomPrompt="1"/>
          </p:nvPr>
        </p:nvSpPr>
        <p:spPr>
          <a:xfrm>
            <a:off x="584200" y="3035178"/>
            <a:ext cx="9144000" cy="498598"/>
          </a:xfr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2000">
                      <a:schemeClr val="accent2"/>
                    </a:gs>
                    <a:gs pos="100000">
                      <a:schemeClr val="accent3"/>
                    </a:gs>
                  </a:gsLst>
                  <a:lin ang="2400000" scaled="0"/>
                </a:gradFill>
                <a:effectLst/>
                <a:latin typeface="+mj-lt"/>
                <a:ea typeface="+mn-ea"/>
                <a:cs typeface="Segoe UI" pitchFamily="34" charset="0"/>
              </a:defRPr>
            </a:lvl1pPr>
          </a:lstStyle>
          <a:p>
            <a:pPr lvl="0"/>
            <a:r>
              <a:rPr lang="en-US"/>
              <a:t>Session or demo title</a:t>
            </a:r>
          </a:p>
        </p:txBody>
      </p:sp>
      <p:sp>
        <p:nvSpPr>
          <p:cNvPr id="7" name="Text Placeholder 4">
            <a:extLst>
              <a:ext uri="{FF2B5EF4-FFF2-40B4-BE49-F238E27FC236}">
                <a16:creationId xmlns:a16="http://schemas.microsoft.com/office/drawing/2014/main" id="{F66251B6-6669-3E5F-CBBE-363F82903A09}"/>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E9310532-FEFD-7A18-695E-D9F2CC968D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096799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11553224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41176559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
        <p:nvSpPr>
          <p:cNvPr id="7" name="Picture Placeholder 6">
            <a:extLst>
              <a:ext uri="{FF2B5EF4-FFF2-40B4-BE49-F238E27FC236}">
                <a16:creationId xmlns:a16="http://schemas.microsoft.com/office/drawing/2014/main" id="{3B01AA23-E126-1E9B-2812-E55E91413EDB}"/>
              </a:ext>
            </a:extLst>
          </p:cNvPr>
          <p:cNvSpPr>
            <a:spLocks noGrp="1"/>
          </p:cNvSpPr>
          <p:nvPr>
            <p:ph type="pic" sz="quarter" idx="10"/>
          </p:nvPr>
        </p:nvSpPr>
        <p:spPr>
          <a:xfrm>
            <a:off x="6242050" y="0"/>
            <a:ext cx="5949950" cy="6857999"/>
          </a:xfrm>
          <a:solidFill>
            <a:schemeClr val="bg1">
              <a:lumMod val="95000"/>
            </a:schemeClr>
          </a:solidFill>
        </p:spPr>
        <p:txBody>
          <a:bodyPr/>
          <a:lstStyle>
            <a:lvl1pPr marL="0" indent="0">
              <a:buNone/>
              <a:defRPr sz="1800"/>
            </a:lvl1pPr>
          </a:lstStyle>
          <a:p>
            <a:endParaRPr lang="en-US"/>
          </a:p>
        </p:txBody>
      </p:sp>
    </p:spTree>
    <p:extLst>
      <p:ext uri="{BB962C8B-B14F-4D97-AF65-F5344CB8AC3E}">
        <p14:creationId xmlns:p14="http://schemas.microsoft.com/office/powerpoint/2010/main" val="378555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image" Target="../media/image1.png"/><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image" Target="../media/image2.svg"/><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image" Target="../media/image1.png"/><Relationship Id="rId2" Type="http://schemas.openxmlformats.org/officeDocument/2006/relationships/slideLayout" Target="../slideLayouts/slideLayout95.xml"/><Relationship Id="rId16" Type="http://schemas.openxmlformats.org/officeDocument/2006/relationships/theme" Target="../theme/theme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image" Target="../media/image42.emf"/><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theme" Target="../theme/theme3.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image" Target="../media/image2.svg"/><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image" Target="../media/image1.png"/><Relationship Id="rId2" Type="http://schemas.openxmlformats.org/officeDocument/2006/relationships/slideLayout" Target="../slideLayouts/slideLayout137.xml"/><Relationship Id="rId16" Type="http://schemas.openxmlformats.org/officeDocument/2006/relationships/theme" Target="../theme/theme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10" Type="http://schemas.openxmlformats.org/officeDocument/2006/relationships/slideLayout" Target="../slideLayouts/slideLayout145.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image" Target="../media/image2.svg"/><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image" Target="../media/image1.png"/><Relationship Id="rId2" Type="http://schemas.openxmlformats.org/officeDocument/2006/relationships/slideLayout" Target="../slideLayouts/slideLayout152.xml"/><Relationship Id="rId16" Type="http://schemas.openxmlformats.org/officeDocument/2006/relationships/theme" Target="../theme/theme5.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theme" Target="../theme/theme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2" Type="http://schemas.openxmlformats.org/officeDocument/2006/relationships/slideLayout" Target="../slideLayouts/slideLayout185.xml"/><Relationship Id="rId16" Type="http://schemas.openxmlformats.org/officeDocument/2006/relationships/theme" Target="../theme/theme7.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10" Type="http://schemas.openxmlformats.org/officeDocument/2006/relationships/slideLayout" Target="../slideLayouts/slideLayout193.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26" Type="http://schemas.openxmlformats.org/officeDocument/2006/relationships/slideLayout" Target="../slideLayouts/slideLayout224.xml"/><Relationship Id="rId39" Type="http://schemas.openxmlformats.org/officeDocument/2006/relationships/slideLayout" Target="../slideLayouts/slideLayout237.xml"/><Relationship Id="rId21" Type="http://schemas.openxmlformats.org/officeDocument/2006/relationships/slideLayout" Target="../slideLayouts/slideLayout219.xml"/><Relationship Id="rId34" Type="http://schemas.openxmlformats.org/officeDocument/2006/relationships/slideLayout" Target="../slideLayouts/slideLayout232.xml"/><Relationship Id="rId42" Type="http://schemas.openxmlformats.org/officeDocument/2006/relationships/image" Target="../media/image66.emf"/><Relationship Id="rId7" Type="http://schemas.openxmlformats.org/officeDocument/2006/relationships/slideLayout" Target="../slideLayouts/slideLayout20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29" Type="http://schemas.openxmlformats.org/officeDocument/2006/relationships/slideLayout" Target="../slideLayouts/slideLayout227.xml"/><Relationship Id="rId41" Type="http://schemas.openxmlformats.org/officeDocument/2006/relationships/theme" Target="../theme/theme8.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slideLayout" Target="../slideLayouts/slideLayout222.xml"/><Relationship Id="rId32" Type="http://schemas.openxmlformats.org/officeDocument/2006/relationships/slideLayout" Target="../slideLayouts/slideLayout230.xml"/><Relationship Id="rId37" Type="http://schemas.openxmlformats.org/officeDocument/2006/relationships/slideLayout" Target="../slideLayouts/slideLayout235.xml"/><Relationship Id="rId40" Type="http://schemas.openxmlformats.org/officeDocument/2006/relationships/slideLayout" Target="../slideLayouts/slideLayout238.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28" Type="http://schemas.openxmlformats.org/officeDocument/2006/relationships/slideLayout" Target="../slideLayouts/slideLayout226.xml"/><Relationship Id="rId36" Type="http://schemas.openxmlformats.org/officeDocument/2006/relationships/slideLayout" Target="../slideLayouts/slideLayout234.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31" Type="http://schemas.openxmlformats.org/officeDocument/2006/relationships/slideLayout" Target="../slideLayouts/slideLayout229.xml"/><Relationship Id="rId44" Type="http://schemas.openxmlformats.org/officeDocument/2006/relationships/image" Target="../media/image2.svg"/><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slideLayout" Target="../slideLayouts/slideLayout225.xml"/><Relationship Id="rId30" Type="http://schemas.openxmlformats.org/officeDocument/2006/relationships/slideLayout" Target="../slideLayouts/slideLayout228.xml"/><Relationship Id="rId35" Type="http://schemas.openxmlformats.org/officeDocument/2006/relationships/slideLayout" Target="../slideLayouts/slideLayout233.xml"/><Relationship Id="rId43" Type="http://schemas.openxmlformats.org/officeDocument/2006/relationships/image" Target="../media/image1.png"/><Relationship Id="rId8" Type="http://schemas.openxmlformats.org/officeDocument/2006/relationships/slideLayout" Target="../slideLayouts/slideLayout206.xml"/><Relationship Id="rId3" Type="http://schemas.openxmlformats.org/officeDocument/2006/relationships/slideLayout" Target="../slideLayouts/slideLayout201.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slideLayout" Target="../slideLayouts/slideLayout223.xml"/><Relationship Id="rId33" Type="http://schemas.openxmlformats.org/officeDocument/2006/relationships/slideLayout" Target="../slideLayouts/slideLayout231.xml"/><Relationship Id="rId38" Type="http://schemas.openxmlformats.org/officeDocument/2006/relationships/slideLayout" Target="../slideLayouts/slideLayout23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2" Type="http://schemas.openxmlformats.org/officeDocument/2006/relationships/slideLayout" Target="../slideLayouts/slideLayout240.xml"/><Relationship Id="rId16" Type="http://schemas.openxmlformats.org/officeDocument/2006/relationships/image" Target="../media/image2.svg"/><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image" Target="../media/image1.png"/><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80311"/>
            <a:ext cx="11018520" cy="430887"/>
          </a:xfrm>
          <a:prstGeom prst="rect">
            <a:avLst/>
          </a:prstGeom>
          <a:noFill/>
        </p:spPr>
        <p:txBody>
          <a:bodyPr vert="horz" wrap="square" lIns="0" tIns="0" rIns="0" bIns="0" rtlCol="0" anchor="b" anchorCtr="0">
            <a:noAutofit/>
          </a:bodyPr>
          <a:lstStyle/>
          <a:p>
            <a:pPr lvl="0"/>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a:extLst>
              <a:ext uri="{FF2B5EF4-FFF2-40B4-BE49-F238E27FC236}">
                <a16:creationId xmlns:a16="http://schemas.microsoft.com/office/drawing/2014/main" id="{FD0A04DA-4C2F-74A6-1E51-7838E3F55135}"/>
              </a:ext>
            </a:extLst>
          </p:cNvPr>
          <p:cNvPicPr>
            <a:picLocks noChangeAspect="1"/>
          </p:cNvPicPr>
          <p:nvPr userDrawn="1"/>
        </p:nvPicPr>
        <p:blipFill>
          <a:blip r:embed="rId95">
            <a:extLst>
              <a:ext uri="{28A0092B-C50C-407E-A947-70E740481C1C}">
                <a14:useLocalDpi xmlns:a14="http://schemas.microsoft.com/office/drawing/2010/main" val="0"/>
              </a:ext>
              <a:ext uri="{96DAC541-7B7A-43D3-8B79-37D633B846F1}">
                <asvg:svgBlip xmlns:asvg="http://schemas.microsoft.com/office/drawing/2016/SVG/main" r:embed="rId9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6896702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943" r:id="rId90"/>
    <p:sldLayoutId id="2147483960" r:id="rId91"/>
    <p:sldLayoutId id="2147483961" r:id="rId92"/>
    <p:sldLayoutId id="2147483962" r:id="rId93"/>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80311"/>
            <a:ext cx="11018520" cy="430887"/>
          </a:xfrm>
          <a:prstGeom prst="rect">
            <a:avLst/>
          </a:prstGeom>
          <a:noFill/>
        </p:spPr>
        <p:txBody>
          <a:bodyPr vert="horz" wrap="square" lIns="0" tIns="0" rIns="0" bIns="0" rtlCol="0" anchor="b" anchorCtr="0">
            <a:noAutofit/>
          </a:bodyPr>
          <a:lstStyle/>
          <a:p>
            <a:pPr lvl="0"/>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a:extLst>
              <a:ext uri="{FF2B5EF4-FFF2-40B4-BE49-F238E27FC236}">
                <a16:creationId xmlns:a16="http://schemas.microsoft.com/office/drawing/2014/main" id="{FD0A04DA-4C2F-74A6-1E51-7838E3F55135}"/>
              </a:ext>
            </a:extLst>
          </p:cNvPr>
          <p:cNvPicPr>
            <a:picLocks noChangeAspect="1"/>
          </p:cNvPicPr>
          <p:nvPr userDrawn="1"/>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357095386"/>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9" cstate="hqprint">
            <a:extLst>
              <a:ext uri="{28A0092B-C50C-407E-A947-70E740481C1C}">
                <a14:useLocalDpi xmlns:a14="http://schemas.microsoft.com/office/drawing/2010/main"/>
              </a:ext>
            </a:extLst>
          </a:blip>
          <a:srcRect l="762"/>
          <a:stretch/>
        </p:blipFill>
        <p:spPr>
          <a:xfrm rot="5400000">
            <a:off x="9509760" y="2843774"/>
            <a:ext cx="6858000" cy="1170455"/>
          </a:xfrm>
          <a:prstGeom prst="rect">
            <a:avLst/>
          </a:prstGeom>
        </p:spPr>
      </p:pic>
      <p:sp>
        <p:nvSpPr>
          <p:cNvPr id="34" name="Slide Number Placeholder 33">
            <a:extLst>
              <a:ext uri="{FF2B5EF4-FFF2-40B4-BE49-F238E27FC236}">
                <a16:creationId xmlns:a16="http://schemas.microsoft.com/office/drawing/2014/main" id="{6D63B297-927B-6144-B15E-C2A058EE537D}"/>
              </a:ext>
            </a:extLst>
          </p:cNvPr>
          <p:cNvSpPr>
            <a:spLocks noGrp="1"/>
          </p:cNvSpPr>
          <p:nvPr>
            <p:ph type="sldNum" sz="quarter" idx="4"/>
          </p:nvPr>
        </p:nvSpPr>
        <p:spPr>
          <a:xfrm>
            <a:off x="9296400" y="6427471"/>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649A1B1-5A8E-4E46-95DF-CCAC78182983}" type="slidenum">
              <a:rPr kumimoji="0" lang="en-US" sz="1050" b="0" i="0" u="none" strike="noStrike" kern="1200" cap="none" spc="0" normalizeH="0" baseline="0" noProof="0" smtClean="0">
                <a:ln>
                  <a:noFill/>
                </a:ln>
                <a:solidFill>
                  <a:srgbClr val="00000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a:ln>
                <a:noFill/>
              </a:ln>
              <a:solidFill>
                <a:srgbClr val="00000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302463873"/>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697488374"/>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549274" y="472440"/>
            <a:ext cx="11089218" cy="45720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549274" y="1638301"/>
            <a:ext cx="11093451"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110BB91-0DF2-F86D-A282-C050CAF65527}"/>
              </a:ext>
            </a:extLst>
          </p:cNvPr>
          <p:cNvSpPr>
            <a:spLocks noGrp="1"/>
          </p:cNvSpPr>
          <p:nvPr>
            <p:ph type="ftr" sz="quarter" idx="3"/>
          </p:nvPr>
        </p:nvSpPr>
        <p:spPr>
          <a:xfrm>
            <a:off x="549274" y="6341190"/>
            <a:ext cx="5480051" cy="246221"/>
          </a:xfrm>
          <a:prstGeom prst="rect">
            <a:avLst/>
          </a:prstGeom>
        </p:spPr>
        <p:txBody>
          <a:bodyPr vert="horz" wrap="square" lIns="0" tIns="45720" rIns="0" bIns="45720" rtlCol="0" anchor="ctr">
            <a:spAutoFit/>
          </a:bodyPr>
          <a:lstStyle>
            <a:lvl1pPr algn="l">
              <a:defRPr sz="1000">
                <a:solidFill>
                  <a:schemeClr val="tx1">
                    <a:lumMod val="50000"/>
                    <a:lumOff val="50000"/>
                  </a:schemeClr>
                </a:solidFill>
              </a:defRPr>
            </a:lvl1pPr>
          </a:lstStyle>
          <a:p>
            <a:pPr>
              <a:defRPr/>
            </a:pPr>
            <a:r>
              <a:rPr lang="en-US">
                <a:solidFill>
                  <a:prstClr val="black">
                    <a:lumMod val="50000"/>
                    <a:lumOff val="50000"/>
                  </a:prstClr>
                </a:solidFill>
              </a:rPr>
              <a:t>Modern Work Enablement</a:t>
            </a:r>
          </a:p>
        </p:txBody>
      </p:sp>
      <p:sp>
        <p:nvSpPr>
          <p:cNvPr id="6" name="Slide Number Placeholder 5">
            <a:extLst>
              <a:ext uri="{FF2B5EF4-FFF2-40B4-BE49-F238E27FC236}">
                <a16:creationId xmlns:a16="http://schemas.microsoft.com/office/drawing/2014/main" id="{78227534-F4D4-095D-03EE-12A9688346D0}"/>
              </a:ext>
            </a:extLst>
          </p:cNvPr>
          <p:cNvSpPr>
            <a:spLocks noGrp="1"/>
          </p:cNvSpPr>
          <p:nvPr>
            <p:ph type="sldNum" sz="quarter" idx="4"/>
          </p:nvPr>
        </p:nvSpPr>
        <p:spPr>
          <a:xfrm>
            <a:off x="9904413" y="6331904"/>
            <a:ext cx="1734079" cy="246221"/>
          </a:xfrm>
          <a:prstGeom prst="rect">
            <a:avLst/>
          </a:prstGeom>
        </p:spPr>
        <p:txBody>
          <a:bodyPr vert="horz" wrap="square" lIns="0" tIns="45720" rIns="0" bIns="45720" rtlCol="0" anchor="ctr">
            <a:spAutoFit/>
          </a:bodyPr>
          <a:lstStyle>
            <a:lvl1pPr algn="r">
              <a:defRPr sz="100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67CA0B0-04EF-433A-8113-67BC344D39D3}" type="slidenum">
              <a:rPr kumimoji="0" lang="en-US" sz="1000" b="0" i="0" u="none" strike="noStrike" kern="1200" cap="none" spc="0" normalizeH="0" baseline="0" noProof="0" smtClean="0">
                <a:ln>
                  <a:noFill/>
                </a:ln>
                <a:solidFill>
                  <a:prstClr val="black">
                    <a:lumMod val="50000"/>
                    <a:lumOff val="50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endParaRPr>
          </a:p>
        </p:txBody>
      </p:sp>
      <p:pic>
        <p:nvPicPr>
          <p:cNvPr id="7" name="Graphic 6">
            <a:extLst>
              <a:ext uri="{FF2B5EF4-FFF2-40B4-BE49-F238E27FC236}">
                <a16:creationId xmlns:a16="http://schemas.microsoft.com/office/drawing/2014/main" id="{3BAC4348-B8BB-E69B-E197-7B5B8B4EF1F3}"/>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rot="5400000">
            <a:off x="10097704" y="2163762"/>
            <a:ext cx="5409405" cy="1081881"/>
          </a:xfrm>
          <a:prstGeom prst="rect">
            <a:avLst/>
          </a:prstGeom>
        </p:spPr>
      </p:pic>
    </p:spTree>
    <p:extLst>
      <p:ext uri="{BB962C8B-B14F-4D97-AF65-F5344CB8AC3E}">
        <p14:creationId xmlns:p14="http://schemas.microsoft.com/office/powerpoint/2010/main" val="962436162"/>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6" r:id="rId11"/>
    <p:sldLayoutId id="2147483957" r:id="rId12"/>
    <p:sldLayoutId id="2147483958" r:id="rId13"/>
    <p:sldLayoutId id="2147483959" r:id="rId14"/>
    <p:sldLayoutId id="2147483978" r:id="rId15"/>
  </p:sldLayoutIdLst>
  <p:hf hdr="0" dt="0"/>
  <p:txStyles>
    <p:title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p:titleStyle>
    <p:bodyStyle>
      <a:lvl1pPr marL="0" indent="0" algn="l" defTabSz="914400" rtl="0" eaLnBrk="1" latinLnBrk="0" hangingPunct="1">
        <a:lnSpc>
          <a:spcPct val="90000"/>
        </a:lnSpc>
        <a:spcBef>
          <a:spcPts val="12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1pPr>
      <a:lvl2pPr marL="0" indent="0" algn="l" defTabSz="914400" rtl="0" eaLnBrk="1" latinLnBrk="0" hangingPunct="1">
        <a:lnSpc>
          <a:spcPct val="90000"/>
        </a:lnSpc>
        <a:spcBef>
          <a:spcPts val="6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2pPr>
      <a:lvl3pPr marL="0" indent="0" algn="l" defTabSz="914400" rtl="0" eaLnBrk="1" latinLnBrk="0" hangingPunct="1">
        <a:lnSpc>
          <a:spcPct val="100000"/>
        </a:lnSpc>
        <a:spcBef>
          <a:spcPts val="600"/>
        </a:spcBef>
        <a:spcAft>
          <a:spcPts val="600"/>
        </a:spcAft>
        <a:buFont typeface="Arial" panose="020B0604020202020204" pitchFamily="34" charset="0"/>
        <a:buNone/>
        <a:defRPr sz="1600" kern="1200" baseline="0">
          <a:solidFill>
            <a:schemeClr val="tx1"/>
          </a:solidFill>
          <a:latin typeface="Segoe Sans Display" pitchFamily="2" charset="0"/>
          <a:ea typeface="+mn-ea"/>
          <a:cs typeface="Segoe Sans Display" pitchFamily="2" charset="0"/>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Segoe Sans Display" pitchFamily="2" charset="0"/>
          <a:ea typeface="+mn-ea"/>
          <a:cs typeface="Segoe Sans Display" pitchFamily="2" charset="0"/>
        </a:defRPr>
      </a:lvl4pPr>
      <a:lvl5pPr marL="173736" indent="-173736"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46">
          <p15:clr>
            <a:srgbClr val="F26B43"/>
          </p15:clr>
        </p15:guide>
        <p15:guide id="3" pos="7334">
          <p15:clr>
            <a:srgbClr val="F26B43"/>
          </p15:clr>
        </p15:guide>
        <p15:guide id="4" orient="horz" pos="2160">
          <p15:clr>
            <a:srgbClr val="F26B43"/>
          </p15:clr>
        </p15:guide>
        <p15:guide id="5" orient="horz" pos="346">
          <p15:clr>
            <a:srgbClr val="F26B43"/>
          </p15:clr>
        </p15:guide>
        <p15:guide id="6" orient="horz" pos="3888">
          <p15:clr>
            <a:srgbClr val="F26B43"/>
          </p15:clr>
        </p15:guide>
        <p15:guide id="7" pos="3798">
          <p15:clr>
            <a:srgbClr val="5ACBF0"/>
          </p15:clr>
        </p15:guide>
        <p15:guide id="8" pos="2702">
          <p15:clr>
            <a:srgbClr val="5ACBF0"/>
          </p15:clr>
        </p15:guide>
        <p15:guide id="9" pos="2618">
          <p15:clr>
            <a:srgbClr val="5ACBF0"/>
          </p15:clr>
        </p15:guide>
        <p15:guide id="10" pos="1524">
          <p15:clr>
            <a:srgbClr val="5ACBF0"/>
          </p15:clr>
        </p15:guide>
        <p15:guide id="11" pos="1439">
          <p15:clr>
            <a:srgbClr val="5ACBF0"/>
          </p15:clr>
        </p15:guide>
        <p15:guide id="12" pos="3881">
          <p15:clr>
            <a:srgbClr val="5ACBF0"/>
          </p15:clr>
        </p15:guide>
        <p15:guide id="13" pos="4976">
          <p15:clr>
            <a:srgbClr val="5ACBF0"/>
          </p15:clr>
        </p15:guide>
        <p15:guide id="14" pos="5061">
          <p15:clr>
            <a:srgbClr val="5ACBF0"/>
          </p15:clr>
        </p15:guide>
        <p15:guide id="15" pos="6155">
          <p15:clr>
            <a:srgbClr val="5ACBF0"/>
          </p15:clr>
        </p15:guide>
        <p15:guide id="16" pos="6239">
          <p15:clr>
            <a:srgbClr val="5ACBF0"/>
          </p15:clr>
        </p15:guide>
        <p15:guide id="17" pos="2027">
          <p15:clr>
            <a:srgbClr val="FBAE40"/>
          </p15:clr>
        </p15:guide>
        <p15:guide id="18" pos="2114">
          <p15:clr>
            <a:srgbClr val="FBAE40"/>
          </p15:clr>
        </p15:guide>
        <p15:guide id="19" pos="5564">
          <p15:clr>
            <a:srgbClr val="FBAE40"/>
          </p15:clr>
        </p15:guide>
        <p15:guide id="20" pos="5652">
          <p15:clr>
            <a:srgbClr val="FBAE40"/>
          </p15:clr>
        </p15:guide>
        <p15:guide id="21" orient="horz" pos="947">
          <p15:clr>
            <a:srgbClr val="F26B43"/>
          </p15:clr>
        </p15:guide>
        <p15:guide id="22" orient="horz" pos="1032">
          <p15:clr>
            <a:srgbClr val="F26B43"/>
          </p15:clr>
        </p15:guide>
        <p15:guide id="23" orient="horz" pos="42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5216" y="1011217"/>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0189128"/>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4" r:id="rId13"/>
    <p:sldLayoutId id="2147483995" r:id="rId14"/>
    <p:sldLayoutId id="2147483996" r:id="rId15"/>
    <p:sldLayoutId id="2147483997" r:id="rId16"/>
    <p:sldLayoutId id="2147483998" r:id="rId17"/>
    <p:sldLayoutId id="2147483999" r:id="rId18"/>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63E1FEEE-112B-02EA-2A33-B4B71AD51CD0}"/>
              </a:ext>
            </a:extLst>
          </p:cNvPr>
          <p:cNvSpPr/>
          <p:nvPr userDrawn="1"/>
        </p:nvSpPr>
        <p:spPr bwMode="auto">
          <a:xfrm>
            <a:off x="12410482" y="2"/>
            <a:ext cx="530159" cy="7228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Single Corner Snipped 49">
            <a:extLst>
              <a:ext uri="{FF2B5EF4-FFF2-40B4-BE49-F238E27FC236}">
                <a16:creationId xmlns:a16="http://schemas.microsoft.com/office/drawing/2014/main" id="{E60A3D03-6048-C4DE-5E7A-26BA8E566B48}"/>
              </a:ext>
            </a:extLst>
          </p:cNvPr>
          <p:cNvSpPr/>
          <p:nvPr userDrawn="1"/>
        </p:nvSpPr>
        <p:spPr bwMode="auto">
          <a:xfrm flipV="1">
            <a:off x="12994851" y="2"/>
            <a:ext cx="530160" cy="722860"/>
          </a:xfrm>
          <a:prstGeom prst="snip1Rect">
            <a:avLst>
              <a:gd name="adj" fmla="val 41626"/>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58673699-9081-FA96-B0BB-C69FAC84C74F}"/>
              </a:ext>
            </a:extLst>
          </p:cNvPr>
          <p:cNvSpPr/>
          <p:nvPr userDrawn="1"/>
        </p:nvSpPr>
        <p:spPr bwMode="auto">
          <a:xfrm>
            <a:off x="12410482" y="1537243"/>
            <a:ext cx="530159" cy="722860"/>
          </a:xfrm>
          <a:prstGeom prst="rect">
            <a:avLst/>
          </a:prstGeom>
          <a:solidFill>
            <a:srgbClr val="3746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Rectangle: Single Corner Snipped 51">
            <a:extLst>
              <a:ext uri="{FF2B5EF4-FFF2-40B4-BE49-F238E27FC236}">
                <a16:creationId xmlns:a16="http://schemas.microsoft.com/office/drawing/2014/main" id="{E7D36249-54DA-4D92-3FAE-CADB419C311E}"/>
              </a:ext>
            </a:extLst>
          </p:cNvPr>
          <p:cNvSpPr/>
          <p:nvPr userDrawn="1"/>
        </p:nvSpPr>
        <p:spPr bwMode="auto">
          <a:xfrm flipV="1">
            <a:off x="12994851" y="1537242"/>
            <a:ext cx="530160" cy="722860"/>
          </a:xfrm>
          <a:prstGeom prst="snip1Rect">
            <a:avLst>
              <a:gd name="adj" fmla="val 39234"/>
            </a:avLst>
          </a:prstGeom>
          <a:solidFill>
            <a:srgbClr val="A7B9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C12DE7B7-6D48-157C-B67E-80676A5D1796}"/>
              </a:ext>
            </a:extLst>
          </p:cNvPr>
          <p:cNvSpPr/>
          <p:nvPr userDrawn="1"/>
        </p:nvSpPr>
        <p:spPr bwMode="auto">
          <a:xfrm>
            <a:off x="12410604" y="2305863"/>
            <a:ext cx="530159" cy="720557"/>
          </a:xfrm>
          <a:prstGeom prst="rect">
            <a:avLst/>
          </a:prstGeom>
          <a:solidFill>
            <a:srgbClr val="6A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Power Bi Dark</a:t>
            </a:r>
          </a:p>
        </p:txBody>
      </p:sp>
      <p:sp>
        <p:nvSpPr>
          <p:cNvPr id="59" name="Rectangle: Single Corner Snipped 58">
            <a:extLst>
              <a:ext uri="{FF2B5EF4-FFF2-40B4-BE49-F238E27FC236}">
                <a16:creationId xmlns:a16="http://schemas.microsoft.com/office/drawing/2014/main" id="{04704ADC-5A71-A7AC-08FB-98476ACD606B}"/>
              </a:ext>
            </a:extLst>
          </p:cNvPr>
          <p:cNvSpPr/>
          <p:nvPr userDrawn="1"/>
        </p:nvSpPr>
        <p:spPr bwMode="auto">
          <a:xfrm flipV="1">
            <a:off x="12995340" y="2305862"/>
            <a:ext cx="530160" cy="720557"/>
          </a:xfrm>
          <a:prstGeom prst="snip1Rect">
            <a:avLst>
              <a:gd name="adj" fmla="val 38037"/>
            </a:avLst>
          </a:prstGeom>
          <a:solidFill>
            <a:srgbClr val="F2CE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mn-ea"/>
                <a:cs typeface="+mn-cs"/>
              </a:rPr>
              <a:t>Power Bi Light</a:t>
            </a:r>
          </a:p>
        </p:txBody>
      </p:sp>
      <p:sp>
        <p:nvSpPr>
          <p:cNvPr id="62" name="Rectangle 61">
            <a:extLst>
              <a:ext uri="{FF2B5EF4-FFF2-40B4-BE49-F238E27FC236}">
                <a16:creationId xmlns:a16="http://schemas.microsoft.com/office/drawing/2014/main" id="{56110A8D-D937-33BE-87D5-7E552688D3F2}"/>
              </a:ext>
            </a:extLst>
          </p:cNvPr>
          <p:cNvSpPr/>
          <p:nvPr userDrawn="1"/>
        </p:nvSpPr>
        <p:spPr bwMode="auto">
          <a:xfrm>
            <a:off x="12410727" y="3072180"/>
            <a:ext cx="530159" cy="720557"/>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Power</a:t>
            </a:r>
            <a:br>
              <a:rPr kumimoji="0" lang="en-US" sz="800" b="1" i="0" u="none" strike="noStrike" kern="1200" cap="none" spc="0" normalizeH="0" baseline="0" noProof="0">
                <a:ln>
                  <a:noFill/>
                </a:ln>
                <a:solidFill>
                  <a:srgbClr val="FFFFFF"/>
                </a:solidFill>
                <a:effectLst/>
                <a:uLnTx/>
                <a:uFillTx/>
                <a:latin typeface="Segoe UI"/>
                <a:ea typeface="+mn-ea"/>
                <a:cs typeface="+mn-cs"/>
              </a:rPr>
            </a:br>
            <a:r>
              <a:rPr kumimoji="0" lang="en-US" sz="800" b="1" i="0" u="none" strike="noStrike" kern="1200" cap="none" spc="0" normalizeH="0" baseline="0" noProof="0">
                <a:ln>
                  <a:noFill/>
                </a:ln>
                <a:solidFill>
                  <a:srgbClr val="FFFFFF"/>
                </a:solidFill>
                <a:effectLst/>
                <a:uLnTx/>
                <a:uFillTx/>
                <a:latin typeface="Segoe UI"/>
                <a:ea typeface="+mn-ea"/>
                <a:cs typeface="+mn-cs"/>
              </a:rPr>
              <a:t>Automate Dark</a:t>
            </a:r>
          </a:p>
        </p:txBody>
      </p:sp>
      <p:sp>
        <p:nvSpPr>
          <p:cNvPr id="63" name="Rectangle: Single Corner Snipped 62">
            <a:extLst>
              <a:ext uri="{FF2B5EF4-FFF2-40B4-BE49-F238E27FC236}">
                <a16:creationId xmlns:a16="http://schemas.microsoft.com/office/drawing/2014/main" id="{4F3699C4-A871-BEAC-0F44-134D67BDA5B2}"/>
              </a:ext>
            </a:extLst>
          </p:cNvPr>
          <p:cNvSpPr/>
          <p:nvPr userDrawn="1"/>
        </p:nvSpPr>
        <p:spPr bwMode="auto">
          <a:xfrm flipV="1">
            <a:off x="12995340" y="3072179"/>
            <a:ext cx="530160" cy="720557"/>
          </a:xfrm>
          <a:prstGeom prst="snip1Rect">
            <a:avLst>
              <a:gd name="adj" fmla="val 38037"/>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mn-ea"/>
                <a:cs typeface="+mn-cs"/>
              </a:rPr>
              <a:t>Power</a:t>
            </a:r>
            <a:br>
              <a:rPr kumimoji="0" lang="en-US" sz="800" b="1" i="0" u="none" strike="noStrike" kern="1200" cap="none" spc="0" normalizeH="0" baseline="0" noProof="0">
                <a:ln>
                  <a:noFill/>
                </a:ln>
                <a:solidFill>
                  <a:srgbClr val="000000"/>
                </a:solidFill>
                <a:effectLst/>
                <a:uLnTx/>
                <a:uFillTx/>
                <a:latin typeface="Segoe UI"/>
                <a:ea typeface="+mn-ea"/>
                <a:cs typeface="+mn-cs"/>
              </a:rPr>
            </a:br>
            <a:r>
              <a:rPr kumimoji="0" lang="en-US" sz="800" b="1" i="0" u="none" strike="noStrike" kern="1200" cap="none" spc="0" normalizeH="0" baseline="0" noProof="0">
                <a:ln>
                  <a:noFill/>
                </a:ln>
                <a:solidFill>
                  <a:srgbClr val="000000"/>
                </a:solidFill>
                <a:effectLst/>
                <a:uLnTx/>
                <a:uFillTx/>
                <a:latin typeface="Segoe UI"/>
                <a:ea typeface="+mn-ea"/>
                <a:cs typeface="+mn-cs"/>
              </a:rPr>
              <a:t>Automate Light</a:t>
            </a:r>
          </a:p>
        </p:txBody>
      </p:sp>
      <p:sp>
        <p:nvSpPr>
          <p:cNvPr id="66" name="Rectangle 65">
            <a:extLst>
              <a:ext uri="{FF2B5EF4-FFF2-40B4-BE49-F238E27FC236}">
                <a16:creationId xmlns:a16="http://schemas.microsoft.com/office/drawing/2014/main" id="{4F6C4DB2-FFDC-E46B-7EB6-A1AD0A18E2AA}"/>
              </a:ext>
            </a:extLst>
          </p:cNvPr>
          <p:cNvSpPr/>
          <p:nvPr userDrawn="1"/>
        </p:nvSpPr>
        <p:spPr bwMode="auto">
          <a:xfrm>
            <a:off x="12410849" y="3838497"/>
            <a:ext cx="530159" cy="720557"/>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Power</a:t>
            </a:r>
            <a:br>
              <a:rPr kumimoji="0" lang="en-US" sz="800" b="1" i="0" u="none" strike="noStrike" kern="1200" cap="none" spc="0" normalizeH="0" baseline="0" noProof="0">
                <a:ln>
                  <a:noFill/>
                </a:ln>
                <a:solidFill>
                  <a:srgbClr val="FFFFFF"/>
                </a:solidFill>
                <a:effectLst/>
                <a:uLnTx/>
                <a:uFillTx/>
                <a:latin typeface="Segoe UI"/>
                <a:ea typeface="+mn-ea"/>
                <a:cs typeface="+mn-cs"/>
              </a:rPr>
            </a:br>
            <a:r>
              <a:rPr kumimoji="0" lang="en-US" sz="800" b="1" i="0" u="none" strike="noStrike" kern="1200" cap="none" spc="0" normalizeH="0" baseline="0" noProof="0">
                <a:ln>
                  <a:noFill/>
                </a:ln>
                <a:solidFill>
                  <a:srgbClr val="FFFFFF"/>
                </a:solidFill>
                <a:effectLst/>
                <a:uLnTx/>
                <a:uFillTx/>
                <a:latin typeface="Segoe UI"/>
                <a:ea typeface="+mn-ea"/>
                <a:cs typeface="+mn-cs"/>
              </a:rPr>
              <a:t>Apps</a:t>
            </a:r>
            <a:br>
              <a:rPr kumimoji="0" lang="en-US" sz="800" b="1" i="0" u="none" strike="noStrike" kern="1200" cap="none" spc="0" normalizeH="0" baseline="0" noProof="0">
                <a:ln>
                  <a:noFill/>
                </a:ln>
                <a:solidFill>
                  <a:srgbClr val="FFFFFF"/>
                </a:solidFill>
                <a:effectLst/>
                <a:uLnTx/>
                <a:uFillTx/>
                <a:latin typeface="Segoe UI"/>
                <a:ea typeface="+mn-ea"/>
                <a:cs typeface="+mn-cs"/>
              </a:rPr>
            </a:br>
            <a:r>
              <a:rPr kumimoji="0" lang="en-US" sz="800" b="1" i="0" u="none" strike="noStrike" kern="1200" cap="none" spc="0" normalizeH="0" baseline="0" noProof="0">
                <a:ln>
                  <a:noFill/>
                </a:ln>
                <a:solidFill>
                  <a:srgbClr val="FFFFFF"/>
                </a:solidFill>
                <a:effectLst/>
                <a:uLnTx/>
                <a:uFillTx/>
                <a:latin typeface="Segoe UI"/>
                <a:ea typeface="+mn-ea"/>
                <a:cs typeface="+mn-cs"/>
              </a:rPr>
              <a:t>Dark</a:t>
            </a:r>
          </a:p>
        </p:txBody>
      </p:sp>
      <p:sp>
        <p:nvSpPr>
          <p:cNvPr id="67" name="Rectangle: Single Corner Snipped 66">
            <a:extLst>
              <a:ext uri="{FF2B5EF4-FFF2-40B4-BE49-F238E27FC236}">
                <a16:creationId xmlns:a16="http://schemas.microsoft.com/office/drawing/2014/main" id="{05CDE5CD-D913-F954-8055-783E465DF50F}"/>
              </a:ext>
            </a:extLst>
          </p:cNvPr>
          <p:cNvSpPr/>
          <p:nvPr userDrawn="1"/>
        </p:nvSpPr>
        <p:spPr bwMode="auto">
          <a:xfrm flipV="1">
            <a:off x="12995340" y="3838496"/>
            <a:ext cx="530160" cy="720557"/>
          </a:xfrm>
          <a:prstGeom prst="snip1Rect">
            <a:avLst>
              <a:gd name="adj" fmla="val 30859"/>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mn-ea"/>
                <a:cs typeface="+mn-cs"/>
              </a:rPr>
              <a:t>Power</a:t>
            </a:r>
            <a:br>
              <a:rPr kumimoji="0" lang="en-US" sz="800" b="1" i="0" u="none" strike="noStrike" kern="1200" cap="none" spc="0" normalizeH="0" baseline="0" noProof="0">
                <a:ln>
                  <a:noFill/>
                </a:ln>
                <a:solidFill>
                  <a:srgbClr val="000000"/>
                </a:solidFill>
                <a:effectLst/>
                <a:uLnTx/>
                <a:uFillTx/>
                <a:latin typeface="Segoe UI"/>
                <a:ea typeface="+mn-ea"/>
                <a:cs typeface="+mn-cs"/>
              </a:rPr>
            </a:br>
            <a:r>
              <a:rPr kumimoji="0" lang="en-US" sz="800" b="1" i="0" u="none" strike="noStrike" kern="1200" cap="none" spc="0" normalizeH="0" baseline="0" noProof="0">
                <a:ln>
                  <a:noFill/>
                </a:ln>
                <a:solidFill>
                  <a:srgbClr val="000000"/>
                </a:solidFill>
                <a:effectLst/>
                <a:uLnTx/>
                <a:uFillTx/>
                <a:latin typeface="Segoe UI"/>
                <a:ea typeface="+mn-ea"/>
                <a:cs typeface="+mn-cs"/>
              </a:rPr>
              <a:t>Apps</a:t>
            </a:r>
            <a:br>
              <a:rPr kumimoji="0" lang="en-US" sz="800" b="1" i="0" u="none" strike="noStrike" kern="1200" cap="none" spc="0" normalizeH="0" baseline="0" noProof="0">
                <a:ln>
                  <a:noFill/>
                </a:ln>
                <a:solidFill>
                  <a:srgbClr val="000000"/>
                </a:solidFill>
                <a:effectLst/>
                <a:uLnTx/>
                <a:uFillTx/>
                <a:latin typeface="Segoe UI"/>
                <a:ea typeface="+mn-ea"/>
                <a:cs typeface="+mn-cs"/>
              </a:rPr>
            </a:br>
            <a:r>
              <a:rPr kumimoji="0" lang="en-US" sz="800" b="1" i="0" u="none" strike="noStrike" kern="1200" cap="none" spc="0" normalizeH="0" baseline="0" noProof="0">
                <a:ln>
                  <a:noFill/>
                </a:ln>
                <a:solidFill>
                  <a:srgbClr val="000000"/>
                </a:solidFill>
                <a:effectLst/>
                <a:uLnTx/>
                <a:uFillTx/>
                <a:latin typeface="Segoe UI"/>
                <a:ea typeface="+mn-ea"/>
                <a:cs typeface="+mn-cs"/>
              </a:rPr>
              <a:t>Light</a:t>
            </a:r>
          </a:p>
        </p:txBody>
      </p:sp>
      <p:sp>
        <p:nvSpPr>
          <p:cNvPr id="68" name="Rectangle 67">
            <a:extLst>
              <a:ext uri="{FF2B5EF4-FFF2-40B4-BE49-F238E27FC236}">
                <a16:creationId xmlns:a16="http://schemas.microsoft.com/office/drawing/2014/main" id="{F966EBCE-C013-9EED-E9EB-BA17AA3E5C8F}"/>
              </a:ext>
            </a:extLst>
          </p:cNvPr>
          <p:cNvSpPr/>
          <p:nvPr userDrawn="1"/>
        </p:nvSpPr>
        <p:spPr bwMode="auto">
          <a:xfrm>
            <a:off x="12410970" y="4604814"/>
            <a:ext cx="530159" cy="72055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Power Virtual</a:t>
            </a:r>
            <a:br>
              <a:rPr kumimoji="0" lang="en-US" sz="800" b="1" i="0" u="none" strike="noStrike" kern="1200" cap="none" spc="0" normalizeH="0" baseline="0" noProof="0">
                <a:ln>
                  <a:noFill/>
                </a:ln>
                <a:solidFill>
                  <a:srgbClr val="FFFFFF"/>
                </a:solidFill>
                <a:effectLst/>
                <a:uLnTx/>
                <a:uFillTx/>
                <a:latin typeface="Segoe UI"/>
                <a:ea typeface="+mn-ea"/>
                <a:cs typeface="+mn-cs"/>
              </a:rPr>
            </a:br>
            <a:r>
              <a:rPr kumimoji="0" lang="en-US" sz="800" b="1" i="0" u="none" strike="noStrike" kern="1200" cap="none" spc="0" normalizeH="0" baseline="0" noProof="0">
                <a:ln>
                  <a:noFill/>
                </a:ln>
                <a:solidFill>
                  <a:srgbClr val="FFFFFF"/>
                </a:solidFill>
                <a:effectLst/>
                <a:uLnTx/>
                <a:uFillTx/>
                <a:latin typeface="Segoe UI"/>
                <a:ea typeface="+mn-ea"/>
                <a:cs typeface="+mn-cs"/>
              </a:rPr>
              <a:t>Agents Dark</a:t>
            </a:r>
          </a:p>
        </p:txBody>
      </p:sp>
      <p:sp>
        <p:nvSpPr>
          <p:cNvPr id="69" name="Rectangle: Single Corner Snipped 68">
            <a:extLst>
              <a:ext uri="{FF2B5EF4-FFF2-40B4-BE49-F238E27FC236}">
                <a16:creationId xmlns:a16="http://schemas.microsoft.com/office/drawing/2014/main" id="{13187A80-1B29-1AA7-E72E-CC324C7731B3}"/>
              </a:ext>
            </a:extLst>
          </p:cNvPr>
          <p:cNvSpPr/>
          <p:nvPr userDrawn="1"/>
        </p:nvSpPr>
        <p:spPr bwMode="auto">
          <a:xfrm flipV="1">
            <a:off x="12995340" y="4604813"/>
            <a:ext cx="530160" cy="720557"/>
          </a:xfrm>
          <a:prstGeom prst="snip1Rect">
            <a:avLst>
              <a:gd name="adj" fmla="val 21276"/>
            </a:avLst>
          </a:prstGeom>
          <a:solidFill>
            <a:srgbClr val="4CCB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27432" rIns="91440" bIns="2743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a:ea typeface="+mn-ea"/>
                <a:cs typeface="+mn-cs"/>
              </a:rPr>
              <a:t>Power Virtual</a:t>
            </a:r>
            <a:br>
              <a:rPr kumimoji="0" lang="en-US" sz="800" b="1" i="0" u="none" strike="noStrike" kern="1200" cap="none" spc="0" normalizeH="0" baseline="0" noProof="0">
                <a:ln>
                  <a:noFill/>
                </a:ln>
                <a:solidFill>
                  <a:srgbClr val="000000"/>
                </a:solidFill>
                <a:effectLst/>
                <a:uLnTx/>
                <a:uFillTx/>
                <a:latin typeface="Segoe UI"/>
                <a:ea typeface="+mn-ea"/>
                <a:cs typeface="+mn-cs"/>
              </a:rPr>
            </a:br>
            <a:r>
              <a:rPr kumimoji="0" lang="en-US" sz="800" b="1" i="0" u="none" strike="noStrike" kern="1200" cap="none" spc="0" normalizeH="0" baseline="0" noProof="0">
                <a:ln>
                  <a:noFill/>
                </a:ln>
                <a:solidFill>
                  <a:srgbClr val="000000"/>
                </a:solidFill>
                <a:effectLst/>
                <a:uLnTx/>
                <a:uFillTx/>
                <a:latin typeface="Segoe UI"/>
                <a:ea typeface="+mn-ea"/>
                <a:cs typeface="+mn-cs"/>
              </a:rPr>
              <a:t>Agents Light</a:t>
            </a:r>
          </a:p>
        </p:txBody>
      </p:sp>
      <p:sp>
        <p:nvSpPr>
          <p:cNvPr id="73" name="Rectangle 72">
            <a:extLst>
              <a:ext uri="{FF2B5EF4-FFF2-40B4-BE49-F238E27FC236}">
                <a16:creationId xmlns:a16="http://schemas.microsoft.com/office/drawing/2014/main" id="{68D432F4-C1DA-83AF-FC96-0CDD7996560C}"/>
              </a:ext>
            </a:extLst>
          </p:cNvPr>
          <p:cNvSpPr/>
          <p:nvPr userDrawn="1"/>
        </p:nvSpPr>
        <p:spPr bwMode="auto">
          <a:xfrm>
            <a:off x="12410849" y="5371131"/>
            <a:ext cx="530159" cy="720557"/>
          </a:xfrm>
          <a:prstGeom prst="rect">
            <a:avLst/>
          </a:prstGeom>
          <a:solidFill>
            <a:srgbClr val="2220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Power</a:t>
            </a:r>
            <a:br>
              <a:rPr kumimoji="0" lang="en-US" sz="800" b="1" i="0" u="none" strike="noStrike" kern="1200" cap="none" spc="0" normalizeH="0" baseline="0" noProof="0">
                <a:ln>
                  <a:noFill/>
                </a:ln>
                <a:solidFill>
                  <a:srgbClr val="FFFFFF"/>
                </a:solidFill>
                <a:effectLst/>
                <a:uLnTx/>
                <a:uFillTx/>
                <a:latin typeface="Segoe UI"/>
                <a:ea typeface="+mn-ea"/>
                <a:cs typeface="+mn-cs"/>
              </a:rPr>
            </a:br>
            <a:r>
              <a:rPr kumimoji="0" lang="en-US" sz="800" b="1" i="0" u="none" strike="noStrike" kern="1200" cap="none" spc="0" normalizeH="0" baseline="0" noProof="0">
                <a:ln>
                  <a:noFill/>
                </a:ln>
                <a:solidFill>
                  <a:srgbClr val="FFFFFF"/>
                </a:solidFill>
                <a:effectLst/>
                <a:uLnTx/>
                <a:uFillTx/>
                <a:latin typeface="Segoe UI"/>
                <a:ea typeface="+mn-ea"/>
                <a:cs typeface="+mn-cs"/>
              </a:rPr>
              <a:t>Pages Dark</a:t>
            </a:r>
          </a:p>
        </p:txBody>
      </p:sp>
      <p:sp>
        <p:nvSpPr>
          <p:cNvPr id="74" name="Rectangle: Single Corner Snipped 73">
            <a:extLst>
              <a:ext uri="{FF2B5EF4-FFF2-40B4-BE49-F238E27FC236}">
                <a16:creationId xmlns:a16="http://schemas.microsoft.com/office/drawing/2014/main" id="{5E28FDC9-01D2-1FE1-7F07-0906701CCACF}"/>
              </a:ext>
            </a:extLst>
          </p:cNvPr>
          <p:cNvSpPr/>
          <p:nvPr userDrawn="1"/>
        </p:nvSpPr>
        <p:spPr bwMode="auto">
          <a:xfrm flipV="1">
            <a:off x="12995340" y="5371130"/>
            <a:ext cx="530160" cy="720557"/>
          </a:xfrm>
          <a:prstGeom prst="snip1Rect">
            <a:avLst>
              <a:gd name="adj" fmla="val 33252"/>
            </a:avLst>
          </a:prstGeom>
          <a:solidFill>
            <a:srgbClr val="4B44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Power</a:t>
            </a:r>
            <a:br>
              <a:rPr kumimoji="0" lang="en-US" sz="800" b="1" i="0" u="none" strike="noStrike" kern="1200" cap="none" spc="0" normalizeH="0" baseline="0" noProof="0">
                <a:ln>
                  <a:noFill/>
                </a:ln>
                <a:solidFill>
                  <a:srgbClr val="FFFFFF"/>
                </a:solidFill>
                <a:effectLst/>
                <a:uLnTx/>
                <a:uFillTx/>
                <a:latin typeface="Segoe UI"/>
                <a:ea typeface="+mn-ea"/>
                <a:cs typeface="+mn-cs"/>
              </a:rPr>
            </a:br>
            <a:r>
              <a:rPr kumimoji="0" lang="en-US" sz="800" b="1" i="0" u="none" strike="noStrike" kern="1200" cap="none" spc="0" normalizeH="0" baseline="0" noProof="0">
                <a:ln>
                  <a:noFill/>
                </a:ln>
                <a:solidFill>
                  <a:srgbClr val="FFFFFF"/>
                </a:solidFill>
                <a:effectLst/>
                <a:uLnTx/>
                <a:uFillTx/>
                <a:latin typeface="Segoe UI"/>
                <a:ea typeface="+mn-ea"/>
                <a:cs typeface="+mn-cs"/>
              </a:rPr>
              <a:t>Pages Light</a:t>
            </a:r>
          </a:p>
        </p:txBody>
      </p:sp>
      <p:sp>
        <p:nvSpPr>
          <p:cNvPr id="91" name="Rectangle 90">
            <a:extLst>
              <a:ext uri="{FF2B5EF4-FFF2-40B4-BE49-F238E27FC236}">
                <a16:creationId xmlns:a16="http://schemas.microsoft.com/office/drawing/2014/main" id="{52B15FA5-6C54-48D2-5AF5-5F911096FD9C}"/>
              </a:ext>
            </a:extLst>
          </p:cNvPr>
          <p:cNvSpPr/>
          <p:nvPr userDrawn="1"/>
        </p:nvSpPr>
        <p:spPr bwMode="auto">
          <a:xfrm>
            <a:off x="12410970" y="6137444"/>
            <a:ext cx="530159" cy="720557"/>
          </a:xfrm>
          <a:prstGeom prst="rect">
            <a:avLst/>
          </a:prstGeom>
          <a:solidFill>
            <a:srgbClr val="1493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Power</a:t>
            </a:r>
            <a:br>
              <a:rPr kumimoji="0" lang="en-US" sz="800" b="1" i="0" u="none" strike="noStrike" kern="1200" cap="none" spc="0" normalizeH="0" baseline="0" noProof="0">
                <a:ln>
                  <a:noFill/>
                </a:ln>
                <a:solidFill>
                  <a:srgbClr val="FFFFFF"/>
                </a:solidFill>
                <a:effectLst/>
                <a:uLnTx/>
                <a:uFillTx/>
                <a:latin typeface="Segoe UI"/>
                <a:ea typeface="+mn-ea"/>
                <a:cs typeface="+mn-cs"/>
              </a:rPr>
            </a:br>
            <a:r>
              <a:rPr kumimoji="0" lang="en-US" sz="800" b="1" i="0" u="none" strike="noStrike" kern="1200" cap="none" spc="0" normalizeH="0" baseline="0" noProof="0">
                <a:ln>
                  <a:noFill/>
                </a:ln>
                <a:solidFill>
                  <a:srgbClr val="FFFFFF"/>
                </a:solidFill>
                <a:effectLst/>
                <a:uLnTx/>
                <a:uFillTx/>
                <a:latin typeface="Segoe UI"/>
                <a:ea typeface="+mn-ea"/>
                <a:cs typeface="+mn-cs"/>
              </a:rPr>
              <a:t>Platform Dark</a:t>
            </a:r>
          </a:p>
        </p:txBody>
      </p:sp>
      <p:sp>
        <p:nvSpPr>
          <p:cNvPr id="92" name="Rectangle: Single Corner Snipped 91">
            <a:extLst>
              <a:ext uri="{FF2B5EF4-FFF2-40B4-BE49-F238E27FC236}">
                <a16:creationId xmlns:a16="http://schemas.microsoft.com/office/drawing/2014/main" id="{FECDD228-E02E-C86F-8EE2-87C6C84F8F3E}"/>
              </a:ext>
            </a:extLst>
          </p:cNvPr>
          <p:cNvSpPr/>
          <p:nvPr userDrawn="1"/>
        </p:nvSpPr>
        <p:spPr bwMode="auto">
          <a:xfrm flipV="1">
            <a:off x="12995340" y="6137444"/>
            <a:ext cx="530160" cy="720557"/>
          </a:xfrm>
          <a:prstGeom prst="snip1Rect">
            <a:avLst>
              <a:gd name="adj" fmla="val 24878"/>
            </a:avLst>
          </a:prstGeom>
          <a:solidFill>
            <a:srgbClr val="4BC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Power</a:t>
            </a:r>
            <a:br>
              <a:rPr kumimoji="0" lang="en-US" sz="800" b="1" i="0" u="none" strike="noStrike" kern="1200" cap="none" spc="0" normalizeH="0" baseline="0" noProof="0">
                <a:ln>
                  <a:noFill/>
                </a:ln>
                <a:solidFill>
                  <a:srgbClr val="FFFFFF"/>
                </a:solidFill>
                <a:effectLst/>
                <a:uLnTx/>
                <a:uFillTx/>
                <a:latin typeface="Segoe UI"/>
                <a:ea typeface="+mn-ea"/>
                <a:cs typeface="+mn-cs"/>
              </a:rPr>
            </a:br>
            <a:r>
              <a:rPr kumimoji="0" lang="en-US" sz="800" b="1" i="0" u="none" strike="noStrike" kern="1200" cap="none" spc="0" normalizeH="0" baseline="0" noProof="0">
                <a:ln>
                  <a:noFill/>
                </a:ln>
                <a:solidFill>
                  <a:srgbClr val="FFFFFF"/>
                </a:solidFill>
                <a:effectLst/>
                <a:uLnTx/>
                <a:uFillTx/>
                <a:latin typeface="Segoe UI"/>
                <a:ea typeface="+mn-ea"/>
                <a:cs typeface="+mn-cs"/>
              </a:rPr>
              <a:t>Platform Light</a:t>
            </a:r>
          </a:p>
        </p:txBody>
      </p:sp>
      <p:sp>
        <p:nvSpPr>
          <p:cNvPr id="111" name="Rectangle 110">
            <a:extLst>
              <a:ext uri="{FF2B5EF4-FFF2-40B4-BE49-F238E27FC236}">
                <a16:creationId xmlns:a16="http://schemas.microsoft.com/office/drawing/2014/main" id="{BE7E2E2D-C6B1-5EA4-7349-83FF5DE2DBB6}"/>
              </a:ext>
            </a:extLst>
          </p:cNvPr>
          <p:cNvSpPr/>
          <p:nvPr userDrawn="1"/>
        </p:nvSpPr>
        <p:spPr bwMode="auto">
          <a:xfrm>
            <a:off x="12410482" y="768622"/>
            <a:ext cx="530159" cy="7228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2" name="Rectangle: Single Corner Snipped 111">
            <a:extLst>
              <a:ext uri="{FF2B5EF4-FFF2-40B4-BE49-F238E27FC236}">
                <a16:creationId xmlns:a16="http://schemas.microsoft.com/office/drawing/2014/main" id="{7109F77D-50EF-7CD4-C093-4F6451C99DB6}"/>
              </a:ext>
            </a:extLst>
          </p:cNvPr>
          <p:cNvSpPr/>
          <p:nvPr userDrawn="1"/>
        </p:nvSpPr>
        <p:spPr bwMode="auto">
          <a:xfrm flipV="1">
            <a:off x="12994851" y="768622"/>
            <a:ext cx="530160" cy="722860"/>
          </a:xfrm>
          <a:prstGeom prst="snip1Rect">
            <a:avLst>
              <a:gd name="adj" fmla="val 41626"/>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29425B8F-DEAE-2553-A34D-A142F1FCE2F5}"/>
              </a:ext>
            </a:extLst>
          </p:cNvPr>
          <p:cNvSpPr/>
          <p:nvPr userDrawn="1"/>
        </p:nvSpPr>
        <p:spPr bwMode="auto">
          <a:xfrm>
            <a:off x="13608553" y="0"/>
            <a:ext cx="134938" cy="2203733"/>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TextBox 116">
            <a:extLst>
              <a:ext uri="{FF2B5EF4-FFF2-40B4-BE49-F238E27FC236}">
                <a16:creationId xmlns:a16="http://schemas.microsoft.com/office/drawing/2014/main" id="{D0EA6001-AA7F-ADE7-1D3C-E21D2ED694F6}"/>
              </a:ext>
            </a:extLst>
          </p:cNvPr>
          <p:cNvSpPr txBox="1"/>
          <p:nvPr userDrawn="1"/>
        </p:nvSpPr>
        <p:spPr>
          <a:xfrm rot="5400000">
            <a:off x="13119148" y="971060"/>
            <a:ext cx="1263926" cy="261610"/>
          </a:xfrm>
          <a:prstGeom prst="rect">
            <a:avLst/>
          </a:prstGeom>
          <a:solidFill>
            <a:srgbClr val="ECECEC"/>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a:ea typeface="+mn-ea"/>
                <a:cs typeface="+mn-cs"/>
              </a:rPr>
              <a:t>Universal Colors</a:t>
            </a:r>
          </a:p>
        </p:txBody>
      </p:sp>
      <p:sp>
        <p:nvSpPr>
          <p:cNvPr id="118" name="Rectangle 114">
            <a:extLst>
              <a:ext uri="{FF2B5EF4-FFF2-40B4-BE49-F238E27FC236}">
                <a16:creationId xmlns:a16="http://schemas.microsoft.com/office/drawing/2014/main" id="{BDC581B7-C25C-BC19-F5F3-9B5342F25487}"/>
              </a:ext>
            </a:extLst>
          </p:cNvPr>
          <p:cNvSpPr/>
          <p:nvPr userDrawn="1"/>
        </p:nvSpPr>
        <p:spPr bwMode="auto">
          <a:xfrm>
            <a:off x="13609637" y="2303703"/>
            <a:ext cx="134938" cy="4554297"/>
          </a:xfrm>
          <a:custGeom>
            <a:avLst/>
            <a:gdLst>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0 w 200025"/>
              <a:gd name="connsiteY4" fmla="*/ 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 name="connsiteX4" fmla="*/ 91440 w 200025"/>
              <a:gd name="connsiteY4" fmla="*/ 91440 h 2203733"/>
              <a:gd name="connsiteX0" fmla="*/ 0 w 200025"/>
              <a:gd name="connsiteY0" fmla="*/ 0 h 2203733"/>
              <a:gd name="connsiteX1" fmla="*/ 200025 w 200025"/>
              <a:gd name="connsiteY1" fmla="*/ 0 h 2203733"/>
              <a:gd name="connsiteX2" fmla="*/ 200025 w 200025"/>
              <a:gd name="connsiteY2" fmla="*/ 2203733 h 2203733"/>
              <a:gd name="connsiteX3" fmla="*/ 0 w 200025"/>
              <a:gd name="connsiteY3" fmla="*/ 2203733 h 2203733"/>
            </a:gdLst>
            <a:ahLst/>
            <a:cxnLst>
              <a:cxn ang="0">
                <a:pos x="connsiteX0" y="connsiteY0"/>
              </a:cxn>
              <a:cxn ang="0">
                <a:pos x="connsiteX1" y="connsiteY1"/>
              </a:cxn>
              <a:cxn ang="0">
                <a:pos x="connsiteX2" y="connsiteY2"/>
              </a:cxn>
              <a:cxn ang="0">
                <a:pos x="connsiteX3" y="connsiteY3"/>
              </a:cxn>
            </a:cxnLst>
            <a:rect l="l" t="t" r="r" b="b"/>
            <a:pathLst>
              <a:path w="200025" h="2203733">
                <a:moveTo>
                  <a:pt x="0" y="0"/>
                </a:moveTo>
                <a:lnTo>
                  <a:pt x="200025" y="0"/>
                </a:lnTo>
                <a:lnTo>
                  <a:pt x="200025" y="2203733"/>
                </a:lnTo>
                <a:lnTo>
                  <a:pt x="0" y="2203733"/>
                </a:lnTo>
              </a:path>
            </a:pathLst>
          </a:cu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9" name="TextBox 118">
            <a:extLst>
              <a:ext uri="{FF2B5EF4-FFF2-40B4-BE49-F238E27FC236}">
                <a16:creationId xmlns:a16="http://schemas.microsoft.com/office/drawing/2014/main" id="{26C18FCC-458B-3C39-F881-A647D9187BB2}"/>
              </a:ext>
            </a:extLst>
          </p:cNvPr>
          <p:cNvSpPr txBox="1"/>
          <p:nvPr userDrawn="1"/>
        </p:nvSpPr>
        <p:spPr>
          <a:xfrm rot="5400000">
            <a:off x="13162466" y="4258315"/>
            <a:ext cx="1177290" cy="261610"/>
          </a:xfrm>
          <a:prstGeom prst="rect">
            <a:avLst/>
          </a:prstGeom>
          <a:solidFill>
            <a:srgbClr val="ECECEC"/>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a:ea typeface="+mn-ea"/>
                <a:cs typeface="+mn-cs"/>
              </a:rPr>
              <a:t>Product Colors</a:t>
            </a:r>
          </a:p>
        </p:txBody>
      </p:sp>
      <p:sp>
        <p:nvSpPr>
          <p:cNvPr id="160" name="Rectangle 159">
            <a:extLst>
              <a:ext uri="{FF2B5EF4-FFF2-40B4-BE49-F238E27FC236}">
                <a16:creationId xmlns:a16="http://schemas.microsoft.com/office/drawing/2014/main" id="{0C48B22D-E877-46C2-C93F-2B0A8A391F90}"/>
              </a:ext>
            </a:extLst>
          </p:cNvPr>
          <p:cNvSpPr/>
          <p:nvPr userDrawn="1"/>
        </p:nvSpPr>
        <p:spPr bwMode="auto">
          <a:xfrm>
            <a:off x="13934970" y="0"/>
            <a:ext cx="530159" cy="72055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45720" rIns="18288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Single Corner Snipped 160">
            <a:extLst>
              <a:ext uri="{FF2B5EF4-FFF2-40B4-BE49-F238E27FC236}">
                <a16:creationId xmlns:a16="http://schemas.microsoft.com/office/drawing/2014/main" id="{13452B28-68E8-CE7E-FA9D-BD52B5D77B52}"/>
              </a:ext>
            </a:extLst>
          </p:cNvPr>
          <p:cNvSpPr/>
          <p:nvPr userDrawn="1"/>
        </p:nvSpPr>
        <p:spPr bwMode="auto">
          <a:xfrm flipV="1">
            <a:off x="14519340" y="0"/>
            <a:ext cx="530160" cy="720557"/>
          </a:xfrm>
          <a:prstGeom prst="snip1Rect">
            <a:avLst>
              <a:gd name="adj" fmla="val 2487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572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84815543"/>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1" r:id="rId8"/>
    <p:sldLayoutId id="2147484032" r:id="rId9"/>
    <p:sldLayoutId id="2147484033" r:id="rId10"/>
    <p:sldLayoutId id="2147484035" r:id="rId11"/>
    <p:sldLayoutId id="2147484036" r:id="rId12"/>
    <p:sldLayoutId id="2147484037" r:id="rId13"/>
    <p:sldLayoutId id="2147484038" r:id="rId14"/>
    <p:sldLayoutId id="2147484039" r:id="rId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52">
          <p15:clr>
            <a:srgbClr val="A4A3A4"/>
          </p15:clr>
        </p15:guide>
        <p15:guide id="30" pos="7488">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6B07C2E4-0DFA-F8B9-B096-ECFDEA07D54A}"/>
              </a:ext>
              <a:ext uri="{C183D7F6-B498-43B3-948B-1728B52AA6E4}">
                <adec:decorative xmlns:adec="http://schemas.microsoft.com/office/drawing/2017/decorative" val="1"/>
              </a:ext>
            </a:extLst>
          </p:cNvPr>
          <p:cNvPicPr>
            <a:picLocks noChangeAspect="1"/>
          </p:cNvPicPr>
          <p:nvPr userDrawn="1"/>
        </p:nvPicPr>
        <p:blipFill rotWithShape="1">
          <a:blip r:embed="rId42"/>
          <a:srcRect l="370" t="1" r="531" b="29523"/>
          <a:stretch>
            <a:fillRect/>
          </a:stretch>
        </p:blipFill>
        <p:spPr>
          <a:xfrm rot="10800000" flipV="1">
            <a:off x="-9333" y="6675119"/>
            <a:ext cx="12201331" cy="182880"/>
          </a:xfrm>
          <a:prstGeom prst="rect">
            <a:avLst/>
          </a:prstGeom>
          <a:ln>
            <a:noFill/>
          </a:ln>
          <a:effectLst/>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43">
            <a:extLst>
              <a:ext uri="{96DAC541-7B7A-43D3-8B79-37D633B846F1}">
                <asvg:svgBlip xmlns:asvg="http://schemas.microsoft.com/office/drawing/2016/SVG/main" r:embed="rId4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526810561"/>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a:ln w="3175">
            <a:noFill/>
          </a:ln>
          <a:gradFill flip="none" rotWithShape="1">
            <a:gsLst>
              <a:gs pos="0">
                <a:srgbClr val="94D8FE"/>
              </a:gs>
              <a:gs pos="100000">
                <a:schemeClr val="bg1"/>
              </a:gs>
            </a:gsLst>
            <a:lin ang="13500000" scaled="1"/>
            <a:tileRect/>
          </a:gradFill>
          <a:effectLst/>
          <a:latin typeface="Segoe Sans Display Semibold" pitchFamily="2" charset="0"/>
          <a:ea typeface="+mn-ea"/>
          <a:cs typeface="Segoe Sans Display Semibold" pitchFamily="2"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Tx/>
        <a:buNone/>
        <a:tabLst/>
        <a:defRPr sz="2800" kern="1200" spc="0" baseline="0">
          <a:solidFill>
            <a:srgbClr val="091F2C"/>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91F2C"/>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91F2C"/>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91F2C"/>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Sans Display"/>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499126165"/>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2.xml"/></Relationships>
</file>

<file path=ppt/slides/_rels/slide1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9.xml"/><Relationship Id="rId1" Type="http://schemas.openxmlformats.org/officeDocument/2006/relationships/slideLayout" Target="../slideLayouts/slideLayout248.xml"/></Relationships>
</file>

<file path=ppt/slides/_rels/slide11.xml.rels><?xml version="1.0" encoding="UTF-8" standalone="yes"?>
<Relationships xmlns="http://schemas.openxmlformats.org/package/2006/relationships"><Relationship Id="rId8" Type="http://schemas.openxmlformats.org/officeDocument/2006/relationships/image" Target="../media/image118.svg"/><Relationship Id="rId13" Type="http://schemas.openxmlformats.org/officeDocument/2006/relationships/image" Target="../media/image123.png"/><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svg"/><Relationship Id="rId2" Type="http://schemas.openxmlformats.org/officeDocument/2006/relationships/notesSlide" Target="../notesSlides/notesSlide10.xml"/><Relationship Id="rId16" Type="http://schemas.openxmlformats.org/officeDocument/2006/relationships/image" Target="../media/image126.svg"/><Relationship Id="rId1" Type="http://schemas.openxmlformats.org/officeDocument/2006/relationships/slideLayout" Target="../slideLayouts/slideLayout248.xml"/><Relationship Id="rId6" Type="http://schemas.openxmlformats.org/officeDocument/2006/relationships/image" Target="../media/image116.svg"/><Relationship Id="rId11" Type="http://schemas.openxmlformats.org/officeDocument/2006/relationships/image" Target="../media/image121.png"/><Relationship Id="rId5" Type="http://schemas.openxmlformats.org/officeDocument/2006/relationships/image" Target="../media/image115.png"/><Relationship Id="rId15" Type="http://schemas.openxmlformats.org/officeDocument/2006/relationships/image" Target="../media/image125.png"/><Relationship Id="rId10" Type="http://schemas.openxmlformats.org/officeDocument/2006/relationships/image" Target="../media/image120.svg"/><Relationship Id="rId4" Type="http://schemas.openxmlformats.org/officeDocument/2006/relationships/image" Target="../media/image114.svg"/><Relationship Id="rId9" Type="http://schemas.openxmlformats.org/officeDocument/2006/relationships/image" Target="../media/image119.png"/><Relationship Id="rId14" Type="http://schemas.openxmlformats.org/officeDocument/2006/relationships/image" Target="../media/image124.svg"/></Relationships>
</file>

<file path=ppt/slides/_rels/slide1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1.xml"/><Relationship Id="rId1" Type="http://schemas.openxmlformats.org/officeDocument/2006/relationships/slideLayout" Target="../slideLayouts/slideLayout90.xml"/><Relationship Id="rId5" Type="http://schemas.openxmlformats.org/officeDocument/2006/relationships/image" Target="../media/image129.png"/><Relationship Id="rId4" Type="http://schemas.openxmlformats.org/officeDocument/2006/relationships/image" Target="../media/image128.png"/></Relationships>
</file>

<file path=ppt/slides/_rels/slide1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2.xml"/><Relationship Id="rId1" Type="http://schemas.openxmlformats.org/officeDocument/2006/relationships/slideLayout" Target="../slideLayouts/slideLayout9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6.xml"/></Relationships>
</file>

<file path=ppt/slides/_rels/slide2.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Layout" Target="../slideLayouts/slideLayout9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3.xml"/></Relationships>
</file>

<file path=ppt/slides/_rels/slide4.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image" Target="../media/image102.png"/><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05.svg"/><Relationship Id="rId11" Type="http://schemas.openxmlformats.org/officeDocument/2006/relationships/image" Target="../media/image110.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svg"/><Relationship Id="rId9" Type="http://schemas.openxmlformats.org/officeDocument/2006/relationships/image" Target="../media/image10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48.xml"/><Relationship Id="rId1" Type="http://schemas.openxmlformats.org/officeDocument/2006/relationships/tags" Target="../tags/tag2.xml"/><Relationship Id="rId5" Type="http://schemas.openxmlformats.org/officeDocument/2006/relationships/image" Target="../media/image101.svg"/><Relationship Id="rId4" Type="http://schemas.openxmlformats.org/officeDocument/2006/relationships/image" Target="../media/image10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48.xml"/><Relationship Id="rId1"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918223"/>
            <a:ext cx="9144000" cy="615553"/>
          </a:xfrm>
        </p:spPr>
        <p:txBody>
          <a:bodyPr/>
          <a:lstStyle/>
          <a:p>
            <a:r>
              <a:rPr lang="en-US" dirty="0">
                <a:cs typeface="Segoe Sans Display"/>
              </a:rPr>
              <a:t>Microsoft Booking </a:t>
            </a:r>
          </a:p>
        </p:txBody>
      </p:sp>
      <p:sp>
        <p:nvSpPr>
          <p:cNvPr id="5" name="Text Placeholder 4"/>
          <p:cNvSpPr>
            <a:spLocks noGrp="1"/>
          </p:cNvSpPr>
          <p:nvPr>
            <p:ph type="body" sz="quarter" idx="12"/>
          </p:nvPr>
        </p:nvSpPr>
        <p:spPr>
          <a:xfrm>
            <a:off x="584200" y="3962400"/>
            <a:ext cx="9144000" cy="246221"/>
          </a:xfrm>
        </p:spPr>
        <p:txBody>
          <a:bodyPr/>
          <a:lstStyle/>
          <a:p>
            <a:r>
              <a:rPr lang="en-US"/>
              <a:t>Subtitle or speaker name</a:t>
            </a:r>
          </a:p>
        </p:txBody>
      </p:sp>
    </p:spTree>
    <p:extLst>
      <p:ext uri="{BB962C8B-B14F-4D97-AF65-F5344CB8AC3E}">
        <p14:creationId xmlns:p14="http://schemas.microsoft.com/office/powerpoint/2010/main" val="263937986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781C3-26E9-8A0F-8516-FF1CBC40E766}"/>
            </a:ext>
          </a:extLst>
        </p:cNvPr>
        <p:cNvGrpSpPr/>
        <p:nvPr/>
      </p:nvGrpSpPr>
      <p:grpSpPr>
        <a:xfrm>
          <a:off x="0" y="0"/>
          <a:ext cx="0" cy="0"/>
          <a:chOff x="0" y="0"/>
          <a:chExt cx="0" cy="0"/>
        </a:xfrm>
      </p:grpSpPr>
      <p:sp>
        <p:nvSpPr>
          <p:cNvPr id="3" name="Rounded Rectangle 56">
            <a:extLst>
              <a:ext uri="{FF2B5EF4-FFF2-40B4-BE49-F238E27FC236}">
                <a16:creationId xmlns:a16="http://schemas.microsoft.com/office/drawing/2014/main" id="{91B4A481-6B04-B627-50AB-3F95AB75FF3D}"/>
              </a:ext>
            </a:extLst>
          </p:cNvPr>
          <p:cNvSpPr>
            <a:spLocks/>
          </p:cNvSpPr>
          <p:nvPr/>
        </p:nvSpPr>
        <p:spPr>
          <a:xfrm>
            <a:off x="355227" y="597186"/>
            <a:ext cx="3491944" cy="5663628"/>
          </a:xfrm>
          <a:prstGeom prst="roundRect">
            <a:avLst>
              <a:gd name="adj" fmla="val 4631"/>
            </a:avLst>
          </a:prstGeom>
          <a:solidFill>
            <a:srgbClr val="FFFFFF"/>
          </a:solidFill>
          <a:ln w="9525" cap="flat" cmpd="sng" algn="ctr">
            <a:noFill/>
            <a:prstDash val="solid"/>
            <a:headEnd type="none" w="med" len="med"/>
            <a:tailEnd type="none" w="med" len="med"/>
          </a:ln>
          <a:effectLst>
            <a:outerShdw blurRad="127000" dist="38100" dir="5400000" algn="t" rotWithShape="0">
              <a:srgbClr val="FFFFFF">
                <a:lumMod val="50000"/>
                <a:alpha val="3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Sans Display"/>
              <a:ea typeface="+mn-ea"/>
              <a:cs typeface="Segoe UI" pitchFamily="34" charset="0"/>
            </a:endParaRPr>
          </a:p>
        </p:txBody>
      </p:sp>
      <p:sp>
        <p:nvSpPr>
          <p:cNvPr id="11" name="Title 25">
            <a:extLst>
              <a:ext uri="{FF2B5EF4-FFF2-40B4-BE49-F238E27FC236}">
                <a16:creationId xmlns:a16="http://schemas.microsoft.com/office/drawing/2014/main" id="{0667E71A-B4C1-EB27-6EB4-64BBB5591F3B}"/>
              </a:ext>
            </a:extLst>
          </p:cNvPr>
          <p:cNvSpPr txBox="1">
            <a:spLocks/>
          </p:cNvSpPr>
          <p:nvPr/>
        </p:nvSpPr>
        <p:spPr>
          <a:xfrm>
            <a:off x="585216" y="2312711"/>
            <a:ext cx="3130257" cy="584775"/>
          </a:xfrm>
          <a:prstGeom prst="rect">
            <a:avLst/>
          </a:prstGeom>
          <a:noFill/>
        </p:spPr>
        <p:txBody>
          <a:bodyPr vert="horz" lIns="0" tIns="45720" rIns="91440" bIns="45720" rtlCol="0" anchor="b">
            <a:spAutoFit/>
          </a:bodyPr>
          <a:lstStyle>
            <a:lvl1pPr algn="l" defTabSz="914400" rtl="0" eaLnBrk="1" latinLnBrk="0" hangingPunct="1">
              <a:lnSpc>
                <a:spcPct val="90000"/>
              </a:lnSpc>
              <a:spcBef>
                <a:spcPct val="0"/>
              </a:spcBef>
              <a:buNone/>
              <a:defRPr sz="3000" b="1" i="0" kern="1200" spc="-20" baseline="0">
                <a:solidFill>
                  <a:srgbClr val="000000"/>
                </a:solidFill>
                <a:latin typeface="Segoe Sans Display Semibold" pitchFamily="2" charset="0"/>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a:noFill/>
                </a:ln>
                <a:gradFill>
                  <a:gsLst>
                    <a:gs pos="0">
                      <a:srgbClr val="FECBE6">
                        <a:lumMod val="90000"/>
                      </a:srgbClr>
                    </a:gs>
                    <a:gs pos="99000">
                      <a:srgbClr val="2764E7"/>
                    </a:gs>
                    <a:gs pos="46000">
                      <a:srgbClr val="BABAFF">
                        <a:lumMod val="90000"/>
                      </a:srgbClr>
                    </a:gs>
                  </a:gsLst>
                  <a:lin ang="13200000" scaled="0"/>
                </a:gradFill>
                <a:effectLst/>
                <a:uLnTx/>
                <a:uFillTx/>
                <a:latin typeface="Segoe Sans Display Semibold"/>
                <a:ea typeface="+mj-ea"/>
                <a:cs typeface="Segoe UI Semibold" panose="020B0702040204020203" pitchFamily="34" charset="0"/>
              </a:rPr>
              <a:t>Registry </a:t>
            </a:r>
          </a:p>
        </p:txBody>
      </p:sp>
      <p:sp>
        <p:nvSpPr>
          <p:cNvPr id="2" name="TextBox 1">
            <a:extLst>
              <a:ext uri="{FF2B5EF4-FFF2-40B4-BE49-F238E27FC236}">
                <a16:creationId xmlns:a16="http://schemas.microsoft.com/office/drawing/2014/main" id="{A9AB307B-BD20-CB64-6197-B8ECE3E23E59}"/>
              </a:ext>
            </a:extLst>
          </p:cNvPr>
          <p:cNvSpPr txBox="1"/>
          <p:nvPr/>
        </p:nvSpPr>
        <p:spPr>
          <a:xfrm>
            <a:off x="585216" y="3037250"/>
            <a:ext cx="2972372" cy="166199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60"/>
                </a:solidFill>
                <a:effectLst/>
                <a:uLnTx/>
                <a:uFillTx/>
                <a:latin typeface="Segoe Sans Display"/>
                <a:ea typeface="+mn-ea"/>
                <a:cs typeface="Segoe Sans Display"/>
              </a:rPr>
              <a:t>Get the complete view of all agents that are being used in your organization, including agents with agent ID, agents you register yourself and shadow agents.</a:t>
            </a:r>
          </a:p>
        </p:txBody>
      </p:sp>
      <p:sp>
        <p:nvSpPr>
          <p:cNvPr id="8" name="Title 25">
            <a:extLst>
              <a:ext uri="{FF2B5EF4-FFF2-40B4-BE49-F238E27FC236}">
                <a16:creationId xmlns:a16="http://schemas.microsoft.com/office/drawing/2014/main" id="{3A347278-D89A-EF97-8892-E63009B8154C}"/>
              </a:ext>
            </a:extLst>
          </p:cNvPr>
          <p:cNvSpPr txBox="1">
            <a:spLocks/>
          </p:cNvSpPr>
          <p:nvPr/>
        </p:nvSpPr>
        <p:spPr>
          <a:xfrm>
            <a:off x="597916" y="2018291"/>
            <a:ext cx="2858107" cy="294420"/>
          </a:xfrm>
          <a:prstGeom prst="rect">
            <a:avLst/>
          </a:prstGeom>
          <a:noFill/>
        </p:spPr>
        <p:txBody>
          <a:bodyPr vert="horz" lIns="0" tIns="45720" rIns="91440" bIns="45720" rtlCol="0" anchor="ctr">
            <a:noAutofit/>
          </a:bodyPr>
          <a:lstStyle>
            <a:defPPr>
              <a:defRPr lang="en-US"/>
            </a:defPPr>
            <a:lvl1pPr lvl="0">
              <a:lnSpc>
                <a:spcPct val="100000"/>
              </a:lnSpc>
              <a:spcBef>
                <a:spcPct val="0"/>
              </a:spcBef>
              <a:buNone/>
              <a:defRPr sz="1200" b="0" i="0" spc="150" baseline="0">
                <a:solidFill>
                  <a:schemeClr val="bg1">
                    <a:lumMod val="50000"/>
                  </a:schemeClr>
                </a:solidFill>
                <a:ea typeface="+mj-ea"/>
                <a:cs typeface="Segoe Sans Display Semibold"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150" normalizeH="0" baseline="0" noProof="0">
                <a:ln>
                  <a:noFill/>
                </a:ln>
                <a:solidFill>
                  <a:srgbClr val="FFFFFF">
                    <a:lumMod val="50000"/>
                  </a:srgbClr>
                </a:solidFill>
                <a:effectLst/>
                <a:uLnTx/>
                <a:uFillTx/>
                <a:latin typeface="Segoe Sans Display"/>
                <a:ea typeface="+mj-ea"/>
                <a:cs typeface="Segoe Sans Display Semibold" pitchFamily="2" charset="0"/>
              </a:rPr>
              <a:t>REGISTRY</a:t>
            </a:r>
          </a:p>
        </p:txBody>
      </p:sp>
      <p:pic>
        <p:nvPicPr>
          <p:cNvPr id="9" name="Picture 2">
            <a:extLst>
              <a:ext uri="{FF2B5EF4-FFF2-40B4-BE49-F238E27FC236}">
                <a16:creationId xmlns:a16="http://schemas.microsoft.com/office/drawing/2014/main" id="{0D1FA6F9-15B3-F56E-C510-50F54B5630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9263" y="1351597"/>
            <a:ext cx="7378629" cy="4154807"/>
          </a:xfrm>
          <a:prstGeom prst="roundRect">
            <a:avLst>
              <a:gd name="adj" fmla="val 0"/>
            </a:avLst>
          </a:prstGeom>
          <a:solidFill>
            <a:srgbClr val="FFFFFF">
              <a:shade val="85000"/>
            </a:srgbClr>
          </a:solidFill>
          <a:ln>
            <a:noFill/>
          </a:ln>
          <a:effectLst>
            <a:outerShdw blurRad="189726" dist="38100" dir="5400000" algn="t" rotWithShape="0">
              <a:prstClr val="black">
                <a:alpha val="14000"/>
              </a:prstClr>
            </a:outerShdw>
          </a:effectLst>
        </p:spPr>
      </p:pic>
    </p:spTree>
    <p:extLst>
      <p:ext uri="{BB962C8B-B14F-4D97-AF65-F5344CB8AC3E}">
        <p14:creationId xmlns:p14="http://schemas.microsoft.com/office/powerpoint/2010/main" val="402132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
                                        <p:tgtEl>
                                          <p:spTgt spid="8"/>
                                        </p:tgtEl>
                                      </p:cBhvr>
                                    </p:animEffect>
                                  </p:childTnLst>
                                </p:cTn>
                              </p:par>
                              <p:par>
                                <p:cTn id="8" presetID="42" presetClass="path" presetSubtype="0" decel="100000" fill="hold" grpId="1" nodeType="withEffect">
                                  <p:stCondLst>
                                    <p:cond delay="0"/>
                                  </p:stCondLst>
                                  <p:childTnLst>
                                    <p:animMotion origin="layout" path="M 3.95833E-6 0.03889 L 3.95833E-6 -7.40741E-7 " pathEditMode="relative" rAng="0" ptsTypes="AA">
                                      <p:cBhvr>
                                        <p:cTn id="9" dur="500" fill="hold"/>
                                        <p:tgtEl>
                                          <p:spTgt spid="8"/>
                                        </p:tgtEl>
                                        <p:attrNameLst>
                                          <p:attrName>ppt_x</p:attrName>
                                          <p:attrName>ppt_y</p:attrName>
                                        </p:attrNameLst>
                                      </p:cBhvr>
                                      <p:rCtr x="0" y="-1944"/>
                                    </p:animMotion>
                                  </p:childTnLst>
                                </p:cTn>
                              </p:par>
                              <p:par>
                                <p:cTn id="10" presetID="10"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200"/>
                                        <p:tgtEl>
                                          <p:spTgt spid="11"/>
                                        </p:tgtEl>
                                      </p:cBhvr>
                                    </p:animEffect>
                                  </p:childTnLst>
                                </p:cTn>
                              </p:par>
                              <p:par>
                                <p:cTn id="13" presetID="42" presetClass="path" presetSubtype="0" decel="100000" fill="hold" grpId="1" nodeType="withEffect">
                                  <p:stCondLst>
                                    <p:cond delay="0"/>
                                  </p:stCondLst>
                                  <p:childTnLst>
                                    <p:animMotion origin="layout" path="M -2.08333E-6 0.03889 L -2.08333E-6 -1.11111E-6 " pathEditMode="relative" rAng="0" ptsTypes="AA">
                                      <p:cBhvr>
                                        <p:cTn id="14" dur="500" fill="hold"/>
                                        <p:tgtEl>
                                          <p:spTgt spid="11"/>
                                        </p:tgtEl>
                                        <p:attrNameLst>
                                          <p:attrName>ppt_x</p:attrName>
                                          <p:attrName>ppt_y</p:attrName>
                                        </p:attrNameLst>
                                      </p:cBhvr>
                                      <p:rCtr x="0" y="-1944"/>
                                    </p:animMotion>
                                  </p:childTnLst>
                                </p:cTn>
                              </p:par>
                              <p:par>
                                <p:cTn id="15" presetID="10"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200"/>
                                        <p:tgtEl>
                                          <p:spTgt spid="2"/>
                                        </p:tgtEl>
                                      </p:cBhvr>
                                    </p:animEffect>
                                  </p:childTnLst>
                                </p:cTn>
                              </p:par>
                              <p:par>
                                <p:cTn id="18" presetID="42" presetClass="path" presetSubtype="0" decel="100000" fill="hold" grpId="1" nodeType="withEffect">
                                  <p:stCondLst>
                                    <p:cond delay="0"/>
                                  </p:stCondLst>
                                  <p:childTnLst>
                                    <p:animMotion origin="layout" path="M -1.875E-6 0.03889 L -1.875E-6 1.11111E-6 " pathEditMode="relative" rAng="0" ptsTypes="AA">
                                      <p:cBhvr>
                                        <p:cTn id="19" dur="500" fill="hold"/>
                                        <p:tgtEl>
                                          <p:spTgt spid="2"/>
                                        </p:tgtEl>
                                        <p:attrNameLst>
                                          <p:attrName>ppt_x</p:attrName>
                                          <p:attrName>ppt_y</p:attrName>
                                        </p:attrNameLst>
                                      </p:cBhvr>
                                      <p:rCtr x="0" y="-1944"/>
                                    </p:animMotion>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200"/>
                                        <p:tgtEl>
                                          <p:spTgt spid="9"/>
                                        </p:tgtEl>
                                      </p:cBhvr>
                                    </p:animEffect>
                                  </p:childTnLst>
                                </p:cTn>
                              </p:par>
                              <p:par>
                                <p:cTn id="23" presetID="42" presetClass="path" presetSubtype="0" decel="100000" fill="hold" nodeType="withEffect">
                                  <p:stCondLst>
                                    <p:cond delay="0"/>
                                  </p:stCondLst>
                                  <p:childTnLst>
                                    <p:animMotion origin="layout" path="M -3.125E-6 0.03889 L -3.125E-6 0 " pathEditMode="relative" rAng="0" ptsTypes="AA">
                                      <p:cBhvr>
                                        <p:cTn id="24" dur="500" fill="hold"/>
                                        <p:tgtEl>
                                          <p:spTgt spid="9"/>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2" grpId="0"/>
      <p:bldP spid="2" grpId="1"/>
      <p:bldP spid="8" grpId="0"/>
      <p:bldP spid="8"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B32F1-27B4-DBE6-FBEE-339782E81DF2}"/>
            </a:ext>
          </a:extLst>
        </p:cNvPr>
        <p:cNvGrpSpPr/>
        <p:nvPr/>
      </p:nvGrpSpPr>
      <p:grpSpPr>
        <a:xfrm>
          <a:off x="0" y="0"/>
          <a:ext cx="0" cy="0"/>
          <a:chOff x="0" y="0"/>
          <a:chExt cx="0" cy="0"/>
        </a:xfrm>
      </p:grpSpPr>
      <p:sp>
        <p:nvSpPr>
          <p:cNvPr id="37" name="Rectangle: Rounded Corners 31">
            <a:extLst>
              <a:ext uri="{FF2B5EF4-FFF2-40B4-BE49-F238E27FC236}">
                <a16:creationId xmlns:a16="http://schemas.microsoft.com/office/drawing/2014/main" id="{7D7AE06F-E2BA-9E3F-BE90-1D990AD21F58}"/>
              </a:ext>
            </a:extLst>
          </p:cNvPr>
          <p:cNvSpPr/>
          <p:nvPr/>
        </p:nvSpPr>
        <p:spPr>
          <a:xfrm>
            <a:off x="575682" y="2977708"/>
            <a:ext cx="11040637" cy="2849748"/>
          </a:xfrm>
          <a:prstGeom prst="roundRect">
            <a:avLst>
              <a:gd name="adj" fmla="val 5641"/>
            </a:avLst>
          </a:prstGeom>
          <a:solidFill>
            <a:schemeClr val="bg1"/>
          </a:solidFill>
          <a:ln w="15875">
            <a:gradFill>
              <a:gsLst>
                <a:gs pos="100000">
                  <a:schemeClr val="accent5"/>
                </a:gs>
                <a:gs pos="50000">
                  <a:schemeClr val="bg2"/>
                </a:gs>
                <a:gs pos="8000">
                  <a:schemeClr val="accent1"/>
                </a:gs>
              </a:gsLst>
              <a:lin ang="2700000" scaled="0"/>
            </a:gradFill>
          </a:ln>
          <a:effectLst>
            <a:innerShdw blurRad="1049316" dist="1035217" dir="7560000">
              <a:schemeClr val="bg1">
                <a:alpha val="50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sym typeface="Segoe UI Variable Static Display"/>
            </a:endParaRPr>
          </a:p>
        </p:txBody>
      </p:sp>
      <p:sp>
        <p:nvSpPr>
          <p:cNvPr id="2" name="TextBox 1">
            <a:extLst>
              <a:ext uri="{FF2B5EF4-FFF2-40B4-BE49-F238E27FC236}">
                <a16:creationId xmlns:a16="http://schemas.microsoft.com/office/drawing/2014/main" id="{D1A4BF0D-F2D1-C544-34B8-DD7925CC78C6}"/>
              </a:ext>
            </a:extLst>
          </p:cNvPr>
          <p:cNvSpPr txBox="1"/>
          <p:nvPr/>
        </p:nvSpPr>
        <p:spPr>
          <a:xfrm>
            <a:off x="959657" y="1664982"/>
            <a:ext cx="10032598"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2060"/>
                </a:solidFill>
                <a:effectLst/>
                <a:uLnTx/>
                <a:uFillTx/>
                <a:latin typeface="Segoe Sans Display"/>
                <a:ea typeface="+mn-ea"/>
                <a:cs typeface="Segoe Sans Display"/>
              </a:rPr>
              <a:t>Proactively protect agents by remediating vulnerabilities, understanding attack paths, and filtering out malicious traffic. Detect, investigate and respond to common and novel attacks that target agents.</a:t>
            </a:r>
          </a:p>
        </p:txBody>
      </p:sp>
      <p:sp>
        <p:nvSpPr>
          <p:cNvPr id="4" name="Title 3">
            <a:extLst>
              <a:ext uri="{FF2B5EF4-FFF2-40B4-BE49-F238E27FC236}">
                <a16:creationId xmlns:a16="http://schemas.microsoft.com/office/drawing/2014/main" id="{DD530A1F-AA1E-1449-6D6F-3E1C14411C1C}"/>
              </a:ext>
            </a:extLst>
          </p:cNvPr>
          <p:cNvSpPr txBox="1">
            <a:spLocks/>
          </p:cNvSpPr>
          <p:nvPr/>
        </p:nvSpPr>
        <p:spPr>
          <a:xfrm>
            <a:off x="913532" y="735401"/>
            <a:ext cx="10363918" cy="78185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4400" b="0" i="0" u="none" strike="noStrike" kern="1200" cap="none" spc="-50" normalizeH="0" baseline="0" noProof="0">
                <a:ln w="3175">
                  <a:noFill/>
                </a:ln>
                <a:solidFill>
                  <a:srgbClr val="002060"/>
                </a:solidFill>
                <a:effectLst/>
                <a:uLnTx/>
                <a:uFillTx/>
                <a:latin typeface="Segoe Sans Display Semibold"/>
                <a:ea typeface="+mn-ea"/>
                <a:cs typeface="Segoe Sans Display" pitchFamily="2" charset="0"/>
              </a:rPr>
              <a:t>Security </a:t>
            </a:r>
          </a:p>
        </p:txBody>
      </p:sp>
      <p:sp>
        <p:nvSpPr>
          <p:cNvPr id="23" name="TextBox 22">
            <a:extLst>
              <a:ext uri="{FF2B5EF4-FFF2-40B4-BE49-F238E27FC236}">
                <a16:creationId xmlns:a16="http://schemas.microsoft.com/office/drawing/2014/main" id="{74506E52-803F-3B46-3E9A-1A8DB0862412}"/>
              </a:ext>
            </a:extLst>
          </p:cNvPr>
          <p:cNvSpPr txBox="1"/>
          <p:nvPr/>
        </p:nvSpPr>
        <p:spPr>
          <a:xfrm>
            <a:off x="955876" y="4533714"/>
            <a:ext cx="252000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000" b="1" i="0" u="none" strike="noStrike" kern="100" cap="none" spc="0" normalizeH="0" baseline="0" noProof="0">
                <a:ln>
                  <a:noFill/>
                </a:ln>
                <a:solidFill>
                  <a:srgbClr val="002060"/>
                </a:solidFill>
                <a:effectLst/>
                <a:uLnTx/>
                <a:uFillTx/>
                <a:latin typeface="Segoe Sans Display Semibold"/>
                <a:ea typeface="+mn-ea"/>
                <a:cs typeface="Arial" panose="020B0604020202020204" pitchFamily="34" charset="0"/>
              </a:rPr>
              <a:t>Security </a:t>
            </a:r>
            <a:br>
              <a:rPr kumimoji="0" lang="en-US" sz="2000" b="1" i="0" u="none" strike="noStrike" kern="100" cap="none" spc="0" normalizeH="0" baseline="0" noProof="0">
                <a:ln>
                  <a:noFill/>
                </a:ln>
                <a:solidFill>
                  <a:srgbClr val="002060"/>
                </a:solidFill>
                <a:effectLst/>
                <a:uLnTx/>
                <a:uFillTx/>
                <a:latin typeface="Segoe Sans Display Semibold"/>
                <a:ea typeface="+mn-ea"/>
                <a:cs typeface="Arial" panose="020B0604020202020204" pitchFamily="34" charset="0"/>
              </a:rPr>
            </a:br>
            <a:r>
              <a:rPr kumimoji="0" lang="en-US" sz="2000" b="1" i="0" u="none" strike="noStrike" kern="100" cap="none" spc="0" normalizeH="0" baseline="0" noProof="0">
                <a:ln>
                  <a:noFill/>
                </a:ln>
                <a:solidFill>
                  <a:srgbClr val="002060"/>
                </a:solidFill>
                <a:effectLst/>
                <a:uLnTx/>
                <a:uFillTx/>
                <a:latin typeface="Segoe Sans Display Semibold"/>
                <a:ea typeface="+mn-ea"/>
                <a:cs typeface="Arial" panose="020B0604020202020204" pitchFamily="34" charset="0"/>
              </a:rPr>
              <a:t>posture </a:t>
            </a:r>
          </a:p>
        </p:txBody>
      </p:sp>
      <p:sp>
        <p:nvSpPr>
          <p:cNvPr id="24" name="TextBox 23">
            <a:extLst>
              <a:ext uri="{FF2B5EF4-FFF2-40B4-BE49-F238E27FC236}">
                <a16:creationId xmlns:a16="http://schemas.microsoft.com/office/drawing/2014/main" id="{E8CADC14-A508-63D2-3D0A-06042CF8B953}"/>
              </a:ext>
            </a:extLst>
          </p:cNvPr>
          <p:cNvSpPr txBox="1"/>
          <p:nvPr/>
        </p:nvSpPr>
        <p:spPr>
          <a:xfrm>
            <a:off x="3530632" y="4533714"/>
            <a:ext cx="252000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000" b="1" i="0" u="none" strike="noStrike" kern="100" cap="none" spc="0" normalizeH="0" baseline="0" noProof="0">
                <a:ln>
                  <a:noFill/>
                </a:ln>
                <a:solidFill>
                  <a:srgbClr val="002060"/>
                </a:solidFill>
                <a:effectLst/>
                <a:uLnTx/>
                <a:uFillTx/>
                <a:latin typeface="Segoe Sans Display Semibold"/>
                <a:ea typeface="+mn-ea"/>
                <a:cs typeface="Arial" panose="020B0604020202020204" pitchFamily="34" charset="0"/>
              </a:rPr>
              <a:t>Detection and response</a:t>
            </a:r>
          </a:p>
        </p:txBody>
      </p:sp>
      <p:sp>
        <p:nvSpPr>
          <p:cNvPr id="25" name="TextBox 24">
            <a:extLst>
              <a:ext uri="{FF2B5EF4-FFF2-40B4-BE49-F238E27FC236}">
                <a16:creationId xmlns:a16="http://schemas.microsoft.com/office/drawing/2014/main" id="{275BF5FF-4699-221E-F3B9-93199FD9A0B4}"/>
              </a:ext>
            </a:extLst>
          </p:cNvPr>
          <p:cNvSpPr txBox="1"/>
          <p:nvPr/>
        </p:nvSpPr>
        <p:spPr>
          <a:xfrm>
            <a:off x="6129376" y="4533714"/>
            <a:ext cx="252000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000" b="1" i="0" u="none" strike="noStrike" kern="100" cap="none" spc="0" normalizeH="0" baseline="0" noProof="0">
                <a:ln>
                  <a:noFill/>
                </a:ln>
                <a:solidFill>
                  <a:srgbClr val="002060"/>
                </a:solidFill>
                <a:effectLst/>
                <a:uLnTx/>
                <a:uFillTx/>
                <a:latin typeface="Segoe Sans Display Semibold"/>
                <a:ea typeface="Aptos" panose="020B0004020202020204" pitchFamily="34" charset="0"/>
                <a:cs typeface="Arial" panose="020B0604020202020204" pitchFamily="34" charset="0"/>
              </a:rPr>
              <a:t>Runtime </a:t>
            </a:r>
            <a:br>
              <a:rPr kumimoji="0" lang="en-US" sz="2000" b="1" i="0" u="none" strike="noStrike" kern="100" cap="none" spc="0" normalizeH="0" baseline="0" noProof="0">
                <a:ln>
                  <a:noFill/>
                </a:ln>
                <a:solidFill>
                  <a:srgbClr val="002060"/>
                </a:solidFill>
                <a:effectLst/>
                <a:uLnTx/>
                <a:uFillTx/>
                <a:latin typeface="Segoe Sans Display Semibold"/>
                <a:ea typeface="Aptos" panose="020B0004020202020204" pitchFamily="34" charset="0"/>
                <a:cs typeface="Arial" panose="020B0604020202020204" pitchFamily="34" charset="0"/>
              </a:rPr>
            </a:br>
            <a:r>
              <a:rPr kumimoji="0" lang="en-US" sz="2000" b="1" i="0" u="none" strike="noStrike" kern="100" cap="none" spc="0" normalizeH="0" baseline="0" noProof="0">
                <a:ln>
                  <a:noFill/>
                </a:ln>
                <a:solidFill>
                  <a:srgbClr val="002060"/>
                </a:solidFill>
                <a:effectLst/>
                <a:uLnTx/>
                <a:uFillTx/>
                <a:latin typeface="Segoe Sans Display Semibold"/>
                <a:ea typeface="Aptos" panose="020B0004020202020204" pitchFamily="34" charset="0"/>
                <a:cs typeface="Arial" panose="020B0604020202020204" pitchFamily="34" charset="0"/>
              </a:rPr>
              <a:t>Defense</a:t>
            </a:r>
          </a:p>
        </p:txBody>
      </p:sp>
      <p:sp>
        <p:nvSpPr>
          <p:cNvPr id="26" name="TextBox 25">
            <a:extLst>
              <a:ext uri="{FF2B5EF4-FFF2-40B4-BE49-F238E27FC236}">
                <a16:creationId xmlns:a16="http://schemas.microsoft.com/office/drawing/2014/main" id="{D4736061-7D9C-8171-2162-49E0D5D070C5}"/>
              </a:ext>
            </a:extLst>
          </p:cNvPr>
          <p:cNvSpPr txBox="1"/>
          <p:nvPr/>
        </p:nvSpPr>
        <p:spPr>
          <a:xfrm>
            <a:off x="8716124" y="4533714"/>
            <a:ext cx="252000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000" b="1" i="0" u="none" strike="noStrike" kern="100" cap="none" spc="0" normalizeH="0" baseline="0" noProof="0">
                <a:ln>
                  <a:noFill/>
                </a:ln>
                <a:solidFill>
                  <a:srgbClr val="002060"/>
                </a:solidFill>
                <a:effectLst/>
                <a:uLnTx/>
                <a:uFillTx/>
                <a:latin typeface="Segoe Sans Display Semibold"/>
                <a:ea typeface="Aptos" panose="020B0004020202020204" pitchFamily="34" charset="0"/>
                <a:cs typeface="Arial" panose="020B0604020202020204" pitchFamily="34" charset="0"/>
              </a:rPr>
              <a:t>Data </a:t>
            </a:r>
            <a:br>
              <a:rPr kumimoji="0" lang="en-US" sz="2000" b="1" i="0" u="none" strike="noStrike" kern="100" cap="none" spc="0" normalizeH="0" baseline="0" noProof="0">
                <a:ln>
                  <a:noFill/>
                </a:ln>
                <a:solidFill>
                  <a:srgbClr val="002060"/>
                </a:solidFill>
                <a:effectLst/>
                <a:uLnTx/>
                <a:uFillTx/>
                <a:latin typeface="Segoe Sans Display Semibold"/>
                <a:ea typeface="Aptos" panose="020B0004020202020204" pitchFamily="34" charset="0"/>
                <a:cs typeface="Arial" panose="020B0604020202020204" pitchFamily="34" charset="0"/>
              </a:rPr>
            </a:br>
            <a:r>
              <a:rPr kumimoji="0" lang="en-US" sz="2000" b="1" i="0" u="none" strike="noStrike" kern="100" cap="none" spc="0" normalizeH="0" baseline="0" noProof="0">
                <a:ln>
                  <a:noFill/>
                </a:ln>
                <a:solidFill>
                  <a:srgbClr val="002060"/>
                </a:solidFill>
                <a:effectLst/>
                <a:uLnTx/>
                <a:uFillTx/>
                <a:latin typeface="Segoe Sans Display Semibold"/>
                <a:ea typeface="Aptos" panose="020B0004020202020204" pitchFamily="34" charset="0"/>
                <a:cs typeface="Arial" panose="020B0604020202020204" pitchFamily="34" charset="0"/>
              </a:rPr>
              <a:t>Security </a:t>
            </a:r>
          </a:p>
        </p:txBody>
      </p:sp>
      <p:grpSp>
        <p:nvGrpSpPr>
          <p:cNvPr id="42" name="Group 41">
            <a:extLst>
              <a:ext uri="{FF2B5EF4-FFF2-40B4-BE49-F238E27FC236}">
                <a16:creationId xmlns:a16="http://schemas.microsoft.com/office/drawing/2014/main" id="{8256631F-453B-31D5-B8AA-E09579187DE7}"/>
              </a:ext>
            </a:extLst>
          </p:cNvPr>
          <p:cNvGrpSpPr/>
          <p:nvPr/>
        </p:nvGrpSpPr>
        <p:grpSpPr>
          <a:xfrm>
            <a:off x="1783598" y="3429000"/>
            <a:ext cx="8624805" cy="903998"/>
            <a:chOff x="1783598" y="3429000"/>
            <a:chExt cx="8624805" cy="903998"/>
          </a:xfrm>
        </p:grpSpPr>
        <p:pic>
          <p:nvPicPr>
            <p:cNvPr id="7" name="Graphic 6">
              <a:extLst>
                <a:ext uri="{FF2B5EF4-FFF2-40B4-BE49-F238E27FC236}">
                  <a16:creationId xmlns:a16="http://schemas.microsoft.com/office/drawing/2014/main" id="{81CFFE43-F3A3-DE0F-9316-547A81A45F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90632" y="3845132"/>
              <a:ext cx="487866" cy="487866"/>
            </a:xfrm>
            <a:prstGeom prst="rect">
              <a:avLst/>
            </a:prstGeom>
          </p:spPr>
        </p:pic>
        <p:pic>
          <p:nvPicPr>
            <p:cNvPr id="14" name="Graphic 13">
              <a:extLst>
                <a:ext uri="{FF2B5EF4-FFF2-40B4-BE49-F238E27FC236}">
                  <a16:creationId xmlns:a16="http://schemas.microsoft.com/office/drawing/2014/main" id="{8B9E5D3C-E2F5-3CBD-2262-770BCB790B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77770" y="3845132"/>
              <a:ext cx="487866" cy="487866"/>
            </a:xfrm>
            <a:prstGeom prst="rect">
              <a:avLst/>
            </a:prstGeom>
          </p:spPr>
        </p:pic>
        <p:pic>
          <p:nvPicPr>
            <p:cNvPr id="18" name="Graphic 17">
              <a:extLst>
                <a:ext uri="{FF2B5EF4-FFF2-40B4-BE49-F238E27FC236}">
                  <a16:creationId xmlns:a16="http://schemas.microsoft.com/office/drawing/2014/main" id="{8A10F4BD-0EF0-8776-DC02-FEAD1DE74A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1428" y="3845132"/>
              <a:ext cx="487866" cy="487866"/>
            </a:xfrm>
            <a:prstGeom prst="rect">
              <a:avLst/>
            </a:prstGeom>
          </p:spPr>
        </p:pic>
        <p:grpSp>
          <p:nvGrpSpPr>
            <p:cNvPr id="22" name="Group 21">
              <a:extLst>
                <a:ext uri="{FF2B5EF4-FFF2-40B4-BE49-F238E27FC236}">
                  <a16:creationId xmlns:a16="http://schemas.microsoft.com/office/drawing/2014/main" id="{09E4E03B-6407-414D-91AE-2117B9A68638}"/>
                </a:ext>
              </a:extLst>
            </p:cNvPr>
            <p:cNvGrpSpPr/>
            <p:nvPr/>
          </p:nvGrpSpPr>
          <p:grpSpPr>
            <a:xfrm>
              <a:off x="1783598" y="3429000"/>
              <a:ext cx="8624805" cy="864874"/>
              <a:chOff x="1689425" y="3667301"/>
              <a:chExt cx="8624805" cy="864874"/>
            </a:xfrm>
            <a:gradFill>
              <a:gsLst>
                <a:gs pos="97000">
                  <a:schemeClr val="accent5"/>
                </a:gs>
                <a:gs pos="61000">
                  <a:srgbClr val="B9DAFF"/>
                </a:gs>
                <a:gs pos="0">
                  <a:schemeClr val="accent3"/>
                </a:gs>
                <a:gs pos="24000">
                  <a:schemeClr val="bg2"/>
                </a:gs>
              </a:gsLst>
              <a:path path="circle">
                <a:fillToRect r="100000" b="100000"/>
              </a:path>
            </a:gradFill>
          </p:grpSpPr>
          <p:sp>
            <p:nvSpPr>
              <p:cNvPr id="11" name="!!Phase1">
                <a:extLst>
                  <a:ext uri="{FF2B5EF4-FFF2-40B4-BE49-F238E27FC236}">
                    <a16:creationId xmlns:a16="http://schemas.microsoft.com/office/drawing/2014/main" id="{908A8D0E-396C-D9DC-B07F-091E85DF3351}"/>
                  </a:ext>
                </a:extLst>
              </p:cNvPr>
              <p:cNvSpPr txBox="1">
                <a:spLocks/>
              </p:cNvSpPr>
              <p:nvPr/>
            </p:nvSpPr>
            <p:spPr>
              <a:xfrm>
                <a:off x="1689425" y="3667301"/>
                <a:ext cx="864556" cy="864874"/>
              </a:xfrm>
              <a:prstGeom prst="ellipse">
                <a:avLst/>
              </a:prstGeom>
              <a:grpFill/>
            </p:spPr>
            <p:txBody>
              <a:bodyPr wrap="square" lIns="137160" tIns="18288" rIns="137160" bIns="54864" rtlCol="0" anchor="ctr" anchorCtr="0">
                <a:spAutoFit/>
              </a:bodyPr>
              <a:lstStyle>
                <a:defPPr>
                  <a:defRPr lang="en-US"/>
                </a:defPPr>
                <a:lvl1pPr algn="ctr" defTabSz="914437" fontAlgn="base">
                  <a:spcBef>
                    <a:spcPct val="0"/>
                  </a:spcBef>
                  <a:spcAft>
                    <a:spcPct val="0"/>
                  </a:spcAft>
                  <a:tabLst>
                    <a:tab pos="1487158" algn="l"/>
                  </a:tabLst>
                  <a:defRPr b="1">
                    <a:ln w="3175">
                      <a:noFill/>
                    </a:ln>
                    <a:gradFill>
                      <a:gsLst>
                        <a:gs pos="92661">
                          <a:srgbClr val="FFFFFF"/>
                        </a:gs>
                        <a:gs pos="78000">
                          <a:srgbClr val="FFFFFF"/>
                        </a:gs>
                      </a:gsLst>
                      <a:path path="circle">
                        <a:fillToRect l="100000" b="100000"/>
                      </a:path>
                    </a:gradFill>
                    <a:latin typeface="Segoe UI Variable Display Semib"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CA" sz="1800" b="1" i="0" u="none" strike="noStrike" kern="1200" cap="none" spc="0" normalizeH="0" baseline="0" noProof="0">
                  <a:ln w="3175">
                    <a:noFill/>
                  </a:ln>
                  <a:gradFill>
                    <a:gsLst>
                      <a:gs pos="92661">
                        <a:srgbClr val="FFFFFF"/>
                      </a:gs>
                      <a:gs pos="78000">
                        <a:srgbClr val="FFFFFF"/>
                      </a:gs>
                    </a:gsLst>
                    <a:path path="circle">
                      <a:fillToRect l="100000" b="100000"/>
                    </a:path>
                  </a:gradFill>
                  <a:effectLst/>
                  <a:uLnTx/>
                  <a:uFillTx/>
                  <a:latin typeface="Segoe Sans Display Semibold" pitchFamily="2" charset="0"/>
                  <a:ea typeface="+mn-ea"/>
                  <a:cs typeface="Segoe Sans Display Semibold" pitchFamily="2" charset="0"/>
                </a:endParaRPr>
              </a:p>
            </p:txBody>
          </p:sp>
          <p:sp>
            <p:nvSpPr>
              <p:cNvPr id="12" name="!!Phase1">
                <a:extLst>
                  <a:ext uri="{FF2B5EF4-FFF2-40B4-BE49-F238E27FC236}">
                    <a16:creationId xmlns:a16="http://schemas.microsoft.com/office/drawing/2014/main" id="{F8F31F7F-97D4-E594-C23F-E654ADC8B4E3}"/>
                  </a:ext>
                </a:extLst>
              </p:cNvPr>
              <p:cNvSpPr txBox="1">
                <a:spLocks/>
              </p:cNvSpPr>
              <p:nvPr/>
            </p:nvSpPr>
            <p:spPr>
              <a:xfrm>
                <a:off x="4276175" y="3667301"/>
                <a:ext cx="864556" cy="864874"/>
              </a:xfrm>
              <a:prstGeom prst="ellipse">
                <a:avLst/>
              </a:prstGeom>
              <a:grpFill/>
            </p:spPr>
            <p:txBody>
              <a:bodyPr wrap="square" lIns="137160" tIns="18288" rIns="137160" bIns="54864" rtlCol="0" anchor="ctr" anchorCtr="0">
                <a:spAutoFit/>
              </a:bodyPr>
              <a:lstStyle>
                <a:defPPr>
                  <a:defRPr lang="en-US"/>
                </a:defPPr>
                <a:lvl1pPr algn="ctr" defTabSz="914437" fontAlgn="base">
                  <a:spcBef>
                    <a:spcPct val="0"/>
                  </a:spcBef>
                  <a:spcAft>
                    <a:spcPct val="0"/>
                  </a:spcAft>
                  <a:tabLst>
                    <a:tab pos="1487158" algn="l"/>
                  </a:tabLst>
                  <a:defRPr b="1">
                    <a:ln w="3175">
                      <a:noFill/>
                    </a:ln>
                    <a:gradFill>
                      <a:gsLst>
                        <a:gs pos="92661">
                          <a:srgbClr val="FFFFFF"/>
                        </a:gs>
                        <a:gs pos="78000">
                          <a:srgbClr val="FFFFFF"/>
                        </a:gs>
                      </a:gsLst>
                      <a:path path="circle">
                        <a:fillToRect l="100000" b="100000"/>
                      </a:path>
                    </a:gradFill>
                    <a:latin typeface="Segoe UI Variable Display Semib"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CA" sz="1800" b="1" i="0" u="none" strike="noStrike" kern="1200" cap="none" spc="0" normalizeH="0" baseline="0" noProof="0">
                  <a:ln w="3175">
                    <a:noFill/>
                  </a:ln>
                  <a:gradFill>
                    <a:gsLst>
                      <a:gs pos="92661">
                        <a:srgbClr val="FFFFFF"/>
                      </a:gs>
                      <a:gs pos="78000">
                        <a:srgbClr val="FFFFFF"/>
                      </a:gs>
                    </a:gsLst>
                    <a:path path="circle">
                      <a:fillToRect l="100000" b="100000"/>
                    </a:path>
                  </a:gradFill>
                  <a:effectLst/>
                  <a:uLnTx/>
                  <a:uFillTx/>
                  <a:latin typeface="Segoe Sans Display Semibold" pitchFamily="2" charset="0"/>
                  <a:ea typeface="+mn-ea"/>
                  <a:cs typeface="Segoe Sans Display Semibold" pitchFamily="2" charset="0"/>
                </a:endParaRPr>
              </a:p>
            </p:txBody>
          </p:sp>
          <p:sp>
            <p:nvSpPr>
              <p:cNvPr id="13" name="!!Phase1">
                <a:extLst>
                  <a:ext uri="{FF2B5EF4-FFF2-40B4-BE49-F238E27FC236}">
                    <a16:creationId xmlns:a16="http://schemas.microsoft.com/office/drawing/2014/main" id="{5EC88509-B4B3-24E6-DDEF-3AFC1C205312}"/>
                  </a:ext>
                </a:extLst>
              </p:cNvPr>
              <p:cNvSpPr txBox="1">
                <a:spLocks/>
              </p:cNvSpPr>
              <p:nvPr/>
            </p:nvSpPr>
            <p:spPr>
              <a:xfrm>
                <a:off x="6862925" y="3667301"/>
                <a:ext cx="864556" cy="864874"/>
              </a:xfrm>
              <a:prstGeom prst="ellipse">
                <a:avLst/>
              </a:prstGeom>
              <a:grpFill/>
            </p:spPr>
            <p:txBody>
              <a:bodyPr wrap="square" lIns="137160" tIns="18288" rIns="137160" bIns="54864" rtlCol="0" anchor="ctr" anchorCtr="0">
                <a:spAutoFit/>
              </a:bodyPr>
              <a:lstStyle>
                <a:defPPr>
                  <a:defRPr lang="en-US"/>
                </a:defPPr>
                <a:lvl1pPr algn="ctr" defTabSz="914437" fontAlgn="base">
                  <a:spcBef>
                    <a:spcPct val="0"/>
                  </a:spcBef>
                  <a:spcAft>
                    <a:spcPct val="0"/>
                  </a:spcAft>
                  <a:tabLst>
                    <a:tab pos="1487158" algn="l"/>
                  </a:tabLst>
                  <a:defRPr b="1">
                    <a:ln w="3175">
                      <a:noFill/>
                    </a:ln>
                    <a:gradFill>
                      <a:gsLst>
                        <a:gs pos="92661">
                          <a:srgbClr val="FFFFFF"/>
                        </a:gs>
                        <a:gs pos="78000">
                          <a:srgbClr val="FFFFFF"/>
                        </a:gs>
                      </a:gsLst>
                      <a:path path="circle">
                        <a:fillToRect l="100000" b="100000"/>
                      </a:path>
                    </a:gradFill>
                    <a:latin typeface="Segoe UI Variable Display Semib"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CA" sz="1800" b="1" i="0" u="none" strike="noStrike" kern="1200" cap="none" spc="0" normalizeH="0" baseline="0" noProof="0">
                  <a:ln w="3175">
                    <a:noFill/>
                  </a:ln>
                  <a:gradFill>
                    <a:gsLst>
                      <a:gs pos="92661">
                        <a:srgbClr val="FFFFFF"/>
                      </a:gs>
                      <a:gs pos="78000">
                        <a:srgbClr val="FFFFFF"/>
                      </a:gs>
                    </a:gsLst>
                    <a:path path="circle">
                      <a:fillToRect l="100000" b="100000"/>
                    </a:path>
                  </a:gradFill>
                  <a:effectLst/>
                  <a:uLnTx/>
                  <a:uFillTx/>
                  <a:latin typeface="Segoe Sans Display Semibold" pitchFamily="2" charset="0"/>
                  <a:ea typeface="+mn-ea"/>
                  <a:cs typeface="Segoe Sans Display Semibold" pitchFamily="2" charset="0"/>
                </a:endParaRPr>
              </a:p>
            </p:txBody>
          </p:sp>
          <p:sp>
            <p:nvSpPr>
              <p:cNvPr id="21" name="!!Phase1">
                <a:extLst>
                  <a:ext uri="{FF2B5EF4-FFF2-40B4-BE49-F238E27FC236}">
                    <a16:creationId xmlns:a16="http://schemas.microsoft.com/office/drawing/2014/main" id="{E99D7804-B299-DD32-4CF6-D458952B1667}"/>
                  </a:ext>
                </a:extLst>
              </p:cNvPr>
              <p:cNvSpPr txBox="1">
                <a:spLocks/>
              </p:cNvSpPr>
              <p:nvPr/>
            </p:nvSpPr>
            <p:spPr>
              <a:xfrm>
                <a:off x="9449674" y="3667301"/>
                <a:ext cx="864556" cy="864874"/>
              </a:xfrm>
              <a:prstGeom prst="ellipse">
                <a:avLst/>
              </a:prstGeom>
              <a:grpFill/>
            </p:spPr>
            <p:txBody>
              <a:bodyPr wrap="square" lIns="137160" tIns="18288" rIns="137160" bIns="54864" rtlCol="0" anchor="ctr" anchorCtr="0">
                <a:spAutoFit/>
              </a:bodyPr>
              <a:lstStyle>
                <a:defPPr>
                  <a:defRPr lang="en-US"/>
                </a:defPPr>
                <a:lvl1pPr algn="ctr" defTabSz="914437" fontAlgn="base">
                  <a:spcBef>
                    <a:spcPct val="0"/>
                  </a:spcBef>
                  <a:spcAft>
                    <a:spcPct val="0"/>
                  </a:spcAft>
                  <a:tabLst>
                    <a:tab pos="1487158" algn="l"/>
                  </a:tabLst>
                  <a:defRPr b="1">
                    <a:ln w="3175">
                      <a:noFill/>
                    </a:ln>
                    <a:gradFill>
                      <a:gsLst>
                        <a:gs pos="92661">
                          <a:srgbClr val="FFFFFF"/>
                        </a:gs>
                        <a:gs pos="78000">
                          <a:srgbClr val="FFFFFF"/>
                        </a:gs>
                      </a:gsLst>
                      <a:path path="circle">
                        <a:fillToRect l="100000" b="100000"/>
                      </a:path>
                    </a:gradFill>
                    <a:latin typeface="Segoe UI Variable Display Semib" pitchFamily="2" charset="0"/>
                    <a:cs typeface="Segoe UI" pitchFamily="34" charset="0"/>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CA" sz="1800" b="1" i="0" u="none" strike="noStrike" kern="1200" cap="none" spc="0" normalizeH="0" baseline="0" noProof="0">
                  <a:ln w="3175">
                    <a:noFill/>
                  </a:ln>
                  <a:gradFill>
                    <a:gsLst>
                      <a:gs pos="92661">
                        <a:srgbClr val="FFFFFF"/>
                      </a:gs>
                      <a:gs pos="78000">
                        <a:srgbClr val="FFFFFF"/>
                      </a:gs>
                    </a:gsLst>
                    <a:path path="circle">
                      <a:fillToRect l="100000" b="100000"/>
                    </a:path>
                  </a:gradFill>
                  <a:effectLst/>
                  <a:uLnTx/>
                  <a:uFillTx/>
                  <a:latin typeface="Segoe Sans Display Semibold" pitchFamily="2" charset="0"/>
                  <a:ea typeface="+mn-ea"/>
                  <a:cs typeface="Segoe Sans Display Semibold" pitchFamily="2" charset="0"/>
                </a:endParaRPr>
              </a:p>
            </p:txBody>
          </p:sp>
        </p:grpSp>
        <p:pic>
          <p:nvPicPr>
            <p:cNvPr id="35" name="Graphic 34">
              <a:extLst>
                <a:ext uri="{FF2B5EF4-FFF2-40B4-BE49-F238E27FC236}">
                  <a16:creationId xmlns:a16="http://schemas.microsoft.com/office/drawing/2014/main" id="{64199FA7-AE8D-CB20-4750-50635F583E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84134" y="3617504"/>
              <a:ext cx="487866" cy="487866"/>
            </a:xfrm>
            <a:prstGeom prst="rect">
              <a:avLst/>
            </a:prstGeom>
          </p:spPr>
        </p:pic>
        <p:pic>
          <p:nvPicPr>
            <p:cNvPr id="36" name="Graphic 35">
              <a:extLst>
                <a:ext uri="{FF2B5EF4-FFF2-40B4-BE49-F238E27FC236}">
                  <a16:creationId xmlns:a16="http://schemas.microsoft.com/office/drawing/2014/main" id="{E14819FA-B637-1D73-9D48-C2C86D9510C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9859" y="3617504"/>
              <a:ext cx="479033" cy="479033"/>
            </a:xfrm>
            <a:prstGeom prst="rect">
              <a:avLst/>
            </a:prstGeom>
          </p:spPr>
        </p:pic>
        <p:pic>
          <p:nvPicPr>
            <p:cNvPr id="39" name="Graphic 38">
              <a:extLst>
                <a:ext uri="{FF2B5EF4-FFF2-40B4-BE49-F238E27FC236}">
                  <a16:creationId xmlns:a16="http://schemas.microsoft.com/office/drawing/2014/main" id="{301CCE72-FE68-F125-6FA2-508173DEA6F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724152" y="3607253"/>
              <a:ext cx="530432" cy="530432"/>
            </a:xfrm>
            <a:prstGeom prst="rect">
              <a:avLst/>
            </a:prstGeom>
          </p:spPr>
        </p:pic>
        <p:pic>
          <p:nvPicPr>
            <p:cNvPr id="41" name="Graphic 40">
              <a:extLst>
                <a:ext uri="{FF2B5EF4-FFF2-40B4-BE49-F238E27FC236}">
                  <a16:creationId xmlns:a16="http://schemas.microsoft.com/office/drawing/2014/main" id="{9F43C3E4-70F2-678C-91E2-A0C6517EEF1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548848" y="3595414"/>
              <a:ext cx="530432" cy="530432"/>
            </a:xfrm>
            <a:prstGeom prst="rect">
              <a:avLst/>
            </a:prstGeom>
          </p:spPr>
        </p:pic>
      </p:grpSp>
    </p:spTree>
    <p:extLst>
      <p:ext uri="{BB962C8B-B14F-4D97-AF65-F5344CB8AC3E}">
        <p14:creationId xmlns:p14="http://schemas.microsoft.com/office/powerpoint/2010/main" val="112814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par>
                                <p:cTn id="8" presetID="42" presetClass="path" presetSubtype="0" decel="100000" fill="hold" grpId="1" nodeType="withEffect">
                                  <p:stCondLst>
                                    <p:cond delay="0"/>
                                  </p:stCondLst>
                                  <p:childTnLst>
                                    <p:animMotion origin="layout" path="M -2.08333E-6 0.03889 L -2.08333E-6 2.59259E-6 " pathEditMode="relative" rAng="0" ptsTypes="AA">
                                      <p:cBhvr>
                                        <p:cTn id="9" dur="500" fill="hold"/>
                                        <p:tgtEl>
                                          <p:spTgt spid="4"/>
                                        </p:tgtEl>
                                        <p:attrNameLst>
                                          <p:attrName>ppt_x</p:attrName>
                                          <p:attrName>ppt_y</p:attrName>
                                        </p:attrNameLst>
                                      </p:cBhvr>
                                      <p:rCtr x="0" y="-1944"/>
                                    </p:animMotion>
                                  </p:childTnLst>
                                </p:cTn>
                              </p:par>
                              <p:par>
                                <p:cTn id="10" presetID="10" presetClass="entr" presetSubtype="0" fill="hold" grpId="0" nodeType="withEffect">
                                  <p:stCondLst>
                                    <p:cond delay="1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200"/>
                                        <p:tgtEl>
                                          <p:spTgt spid="2"/>
                                        </p:tgtEl>
                                      </p:cBhvr>
                                    </p:animEffect>
                                  </p:childTnLst>
                                </p:cTn>
                              </p:par>
                              <p:par>
                                <p:cTn id="13" presetID="42" presetClass="path" presetSubtype="0" decel="100000" fill="hold" grpId="1" nodeType="withEffect">
                                  <p:stCondLst>
                                    <p:cond delay="100"/>
                                  </p:stCondLst>
                                  <p:childTnLst>
                                    <p:animMotion origin="layout" path="M -4.16667E-6 0.03889 L -4.16667E-6 -3.7037E-6 " pathEditMode="relative" rAng="0" ptsTypes="AA">
                                      <p:cBhvr>
                                        <p:cTn id="14" dur="500" fill="hold"/>
                                        <p:tgtEl>
                                          <p:spTgt spid="2"/>
                                        </p:tgtEl>
                                        <p:attrNameLst>
                                          <p:attrName>ppt_x</p:attrName>
                                          <p:attrName>ppt_y</p:attrName>
                                        </p:attrNameLst>
                                      </p:cBhvr>
                                      <p:rCtr x="0" y="-1944"/>
                                    </p:animMotion>
                                  </p:childTnLst>
                                </p:cTn>
                              </p:par>
                              <p:par>
                                <p:cTn id="15" presetID="10" presetClass="entr" presetSubtype="0" fill="hold" grpId="0"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00"/>
                                        <p:tgtEl>
                                          <p:spTgt spid="23"/>
                                        </p:tgtEl>
                                      </p:cBhvr>
                                    </p:animEffect>
                                  </p:childTnLst>
                                </p:cTn>
                              </p:par>
                              <p:par>
                                <p:cTn id="18" presetID="42" presetClass="path" presetSubtype="0" decel="100000" fill="hold" grpId="1" nodeType="withEffect">
                                  <p:stCondLst>
                                    <p:cond delay="400"/>
                                  </p:stCondLst>
                                  <p:childTnLst>
                                    <p:animMotion origin="layout" path="M -8.33333E-7 0.03889 L -8.33333E-7 -1.48148E-6 " pathEditMode="relative" rAng="0" ptsTypes="AA">
                                      <p:cBhvr>
                                        <p:cTn id="19" dur="500" fill="hold"/>
                                        <p:tgtEl>
                                          <p:spTgt spid="23"/>
                                        </p:tgtEl>
                                        <p:attrNameLst>
                                          <p:attrName>ppt_x</p:attrName>
                                          <p:attrName>ppt_y</p:attrName>
                                        </p:attrNameLst>
                                      </p:cBhvr>
                                      <p:rCtr x="0" y="-1944"/>
                                    </p:animMotion>
                                  </p:childTnLst>
                                </p:cTn>
                              </p:par>
                              <p:par>
                                <p:cTn id="20" presetID="10" presetClass="entr" presetSubtype="0" fill="hold" grpId="0" nodeType="withEffect">
                                  <p:stCondLst>
                                    <p:cond delay="4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200"/>
                                        <p:tgtEl>
                                          <p:spTgt spid="24"/>
                                        </p:tgtEl>
                                      </p:cBhvr>
                                    </p:animEffect>
                                  </p:childTnLst>
                                </p:cTn>
                              </p:par>
                              <p:par>
                                <p:cTn id="23" presetID="42" presetClass="path" presetSubtype="0" decel="100000" fill="hold" grpId="1" nodeType="withEffect">
                                  <p:stCondLst>
                                    <p:cond delay="400"/>
                                  </p:stCondLst>
                                  <p:childTnLst>
                                    <p:animMotion origin="layout" path="M 1.45833E-6 0.03889 L 1.45833E-6 -1.48148E-6 " pathEditMode="relative" rAng="0" ptsTypes="AA">
                                      <p:cBhvr>
                                        <p:cTn id="24" dur="500" fill="hold"/>
                                        <p:tgtEl>
                                          <p:spTgt spid="24"/>
                                        </p:tgtEl>
                                        <p:attrNameLst>
                                          <p:attrName>ppt_x</p:attrName>
                                          <p:attrName>ppt_y</p:attrName>
                                        </p:attrNameLst>
                                      </p:cBhvr>
                                      <p:rCtr x="0" y="-1944"/>
                                    </p:animMotion>
                                  </p:childTnLst>
                                </p:cTn>
                              </p:par>
                              <p:par>
                                <p:cTn id="25" presetID="10" presetClass="entr" presetSubtype="0" fill="hold" grpId="0" nodeType="withEffect">
                                  <p:stCondLst>
                                    <p:cond delay="40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200"/>
                                        <p:tgtEl>
                                          <p:spTgt spid="25"/>
                                        </p:tgtEl>
                                      </p:cBhvr>
                                    </p:animEffect>
                                  </p:childTnLst>
                                </p:cTn>
                              </p:par>
                              <p:par>
                                <p:cTn id="28" presetID="42" presetClass="path" presetSubtype="0" decel="100000" fill="hold" grpId="1" nodeType="withEffect">
                                  <p:stCondLst>
                                    <p:cond delay="400"/>
                                  </p:stCondLst>
                                  <p:childTnLst>
                                    <p:animMotion origin="layout" path="M 4.16667E-7 0.03889 L 4.16667E-7 -1.48148E-6 " pathEditMode="relative" rAng="0" ptsTypes="AA">
                                      <p:cBhvr>
                                        <p:cTn id="29" dur="500" fill="hold"/>
                                        <p:tgtEl>
                                          <p:spTgt spid="25"/>
                                        </p:tgtEl>
                                        <p:attrNameLst>
                                          <p:attrName>ppt_x</p:attrName>
                                          <p:attrName>ppt_y</p:attrName>
                                        </p:attrNameLst>
                                      </p:cBhvr>
                                      <p:rCtr x="0" y="-1944"/>
                                    </p:animMotion>
                                  </p:childTnLst>
                                </p:cTn>
                              </p:par>
                              <p:par>
                                <p:cTn id="30" presetID="10" presetClass="entr" presetSubtype="0" fill="hold" grpId="0" nodeType="withEffect">
                                  <p:stCondLst>
                                    <p:cond delay="4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200"/>
                                        <p:tgtEl>
                                          <p:spTgt spid="26"/>
                                        </p:tgtEl>
                                      </p:cBhvr>
                                    </p:animEffect>
                                  </p:childTnLst>
                                </p:cTn>
                              </p:par>
                              <p:par>
                                <p:cTn id="33" presetID="42" presetClass="path" presetSubtype="0" decel="100000" fill="hold" grpId="1" nodeType="withEffect">
                                  <p:stCondLst>
                                    <p:cond delay="400"/>
                                  </p:stCondLst>
                                  <p:childTnLst>
                                    <p:animMotion origin="layout" path="M 8.33333E-7 0.03889 L 8.33333E-7 -1.48148E-6 " pathEditMode="relative" rAng="0" ptsTypes="AA">
                                      <p:cBhvr>
                                        <p:cTn id="34" dur="500" fill="hold"/>
                                        <p:tgtEl>
                                          <p:spTgt spid="26"/>
                                        </p:tgtEl>
                                        <p:attrNameLst>
                                          <p:attrName>ppt_x</p:attrName>
                                          <p:attrName>ppt_y</p:attrName>
                                        </p:attrNameLst>
                                      </p:cBhvr>
                                      <p:rCtr x="0" y="-1944"/>
                                    </p:animMotion>
                                  </p:childTnLst>
                                </p:cTn>
                              </p:par>
                              <p:par>
                                <p:cTn id="35" presetID="10" presetClass="entr" presetSubtype="0" fill="hold" grpId="0" nodeType="withEffect">
                                  <p:stCondLst>
                                    <p:cond delay="20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200"/>
                                        <p:tgtEl>
                                          <p:spTgt spid="37"/>
                                        </p:tgtEl>
                                      </p:cBhvr>
                                    </p:animEffect>
                                  </p:childTnLst>
                                </p:cTn>
                              </p:par>
                              <p:par>
                                <p:cTn id="38" presetID="42" presetClass="path" presetSubtype="0" decel="100000" fill="hold" grpId="1" nodeType="withEffect">
                                  <p:stCondLst>
                                    <p:cond delay="200"/>
                                  </p:stCondLst>
                                  <p:childTnLst>
                                    <p:animMotion origin="layout" path="M 0 0.03889 L 0 1.85185E-6 " pathEditMode="relative" rAng="0" ptsTypes="AA">
                                      <p:cBhvr>
                                        <p:cTn id="39" dur="500" fill="hold"/>
                                        <p:tgtEl>
                                          <p:spTgt spid="37"/>
                                        </p:tgtEl>
                                        <p:attrNameLst>
                                          <p:attrName>ppt_x</p:attrName>
                                          <p:attrName>ppt_y</p:attrName>
                                        </p:attrNameLst>
                                      </p:cBhvr>
                                      <p:rCtr x="0" y="-1944"/>
                                    </p:animMotion>
                                  </p:childTnLst>
                                </p:cTn>
                              </p:par>
                              <p:par>
                                <p:cTn id="40" presetID="10" presetClass="entr" presetSubtype="0" fill="hold" nodeType="withEffect">
                                  <p:stCondLst>
                                    <p:cond delay="30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200"/>
                                        <p:tgtEl>
                                          <p:spTgt spid="42"/>
                                        </p:tgtEl>
                                      </p:cBhvr>
                                    </p:animEffect>
                                  </p:childTnLst>
                                </p:cTn>
                              </p:par>
                              <p:par>
                                <p:cTn id="43" presetID="42" presetClass="path" presetSubtype="0" decel="100000" fill="hold" nodeType="withEffect">
                                  <p:stCondLst>
                                    <p:cond delay="300"/>
                                  </p:stCondLst>
                                  <p:childTnLst>
                                    <p:animMotion origin="layout" path="M 0 0.03889 L 0 2.59259E-6 " pathEditMode="relative" rAng="0" ptsTypes="AA">
                                      <p:cBhvr>
                                        <p:cTn id="44" dur="500" fill="hold"/>
                                        <p:tgtEl>
                                          <p:spTgt spid="42"/>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7" grpId="1" animBg="1"/>
      <p:bldP spid="2" grpId="0"/>
      <p:bldP spid="2" grpId="1"/>
      <p:bldP spid="4" grpId="0"/>
      <p:bldP spid="4" grpId="1"/>
      <p:bldP spid="23" grpId="0"/>
      <p:bldP spid="23" grpId="1"/>
      <p:bldP spid="24" grpId="0"/>
      <p:bldP spid="24" grpId="1"/>
      <p:bldP spid="25" grpId="0"/>
      <p:bldP spid="25" grpId="1"/>
      <p:bldP spid="26" grpId="0"/>
      <p:bldP spid="26"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AF5C9A-21DE-0551-C2BD-B66767884C7D}"/>
            </a:ext>
          </a:extLst>
        </p:cNvPr>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072C3954-39DA-4DFF-BD42-CF3796971438}"/>
              </a:ext>
              <a:ext uri="{C183D7F6-B498-43B3-948B-1728B52AA6E4}">
                <adec:decorative xmlns:adec="http://schemas.microsoft.com/office/drawing/2017/decorative" val="1"/>
              </a:ext>
            </a:extLst>
          </p:cNvPr>
          <p:cNvCxnSpPr>
            <a:cxnSpLocks/>
          </p:cNvCxnSpPr>
          <p:nvPr/>
        </p:nvCxnSpPr>
        <p:spPr>
          <a:xfrm>
            <a:off x="0" y="2136056"/>
            <a:ext cx="7055556"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 name="Title 1">
            <a:extLst>
              <a:ext uri="{FF2B5EF4-FFF2-40B4-BE49-F238E27FC236}">
                <a16:creationId xmlns:a16="http://schemas.microsoft.com/office/drawing/2014/main" id="{B3A57053-53B2-79C4-CC0B-A68BC98C4592}"/>
              </a:ext>
            </a:extLst>
          </p:cNvPr>
          <p:cNvSpPr>
            <a:spLocks noGrp="1"/>
          </p:cNvSpPr>
          <p:nvPr>
            <p:ph type="title"/>
          </p:nvPr>
        </p:nvSpPr>
        <p:spPr>
          <a:xfrm>
            <a:off x="587375" y="649113"/>
            <a:ext cx="10603634" cy="492125"/>
          </a:xfrm>
        </p:spPr>
        <p:txBody>
          <a:bodyPr>
            <a:noAutofit/>
          </a:bodyPr>
          <a:lstStyle/>
          <a:p>
            <a:r>
              <a:rPr lang="en-US" sz="3000">
                <a:ea typeface="+mj-ea"/>
                <a:cs typeface="+mj-cs"/>
              </a:rPr>
              <a:t>Data Loss Prevention – Connector endpoints (preview)</a:t>
            </a:r>
          </a:p>
        </p:txBody>
      </p:sp>
      <p:sp>
        <p:nvSpPr>
          <p:cNvPr id="8" name="Rectangle: Rounded Corners 7">
            <a:extLst>
              <a:ext uri="{FF2B5EF4-FFF2-40B4-BE49-F238E27FC236}">
                <a16:creationId xmlns:a16="http://schemas.microsoft.com/office/drawing/2014/main" id="{DA0F8769-E066-D45E-5699-A281746C38E5}"/>
              </a:ext>
              <a:ext uri="{C183D7F6-B498-43B3-948B-1728B52AA6E4}">
                <adec:decorative xmlns:adec="http://schemas.microsoft.com/office/drawing/2017/decorative" val="0"/>
              </a:ext>
            </a:extLst>
          </p:cNvPr>
          <p:cNvSpPr/>
          <p:nvPr/>
        </p:nvSpPr>
        <p:spPr bwMode="auto">
          <a:xfrm>
            <a:off x="587374" y="179661"/>
            <a:ext cx="4269970" cy="36576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Segoe UI Semibold"/>
              </a:rPr>
              <a:t>Power Platform Admin Center</a:t>
            </a:r>
          </a:p>
        </p:txBody>
      </p:sp>
      <p:sp>
        <p:nvSpPr>
          <p:cNvPr id="21" name="TextBox 20">
            <a:extLst>
              <a:ext uri="{FF2B5EF4-FFF2-40B4-BE49-F238E27FC236}">
                <a16:creationId xmlns:a16="http://schemas.microsoft.com/office/drawing/2014/main" id="{AA9C7BAD-4C0F-1582-BCB4-7DD0D26CE450}"/>
              </a:ext>
            </a:extLst>
          </p:cNvPr>
          <p:cNvSpPr txBox="1"/>
          <p:nvPr/>
        </p:nvSpPr>
        <p:spPr>
          <a:xfrm>
            <a:off x="587374" y="2625112"/>
            <a:ext cx="6468182" cy="2092881"/>
          </a:xfrm>
          <a:prstGeom prst="rect">
            <a:avLst/>
          </a:prstGeom>
          <a:noFill/>
        </p:spPr>
        <p:txBody>
          <a:bodyPr wrap="square" lIns="0" tIns="0" rIns="0" bIns="0" anchor="t">
            <a:spAutoFit/>
          </a:bodyPr>
          <a:lstStyle/>
          <a:p>
            <a:pPr marL="285750" indent="-285750" defTabSz="457200">
              <a:spcAft>
                <a:spcPts val="800"/>
              </a:spcAft>
              <a:buFont typeface="Arial" panose="020B0604020202020204" pitchFamily="34" charset="0"/>
              <a:buChar char="•"/>
              <a:defRPr/>
            </a:pPr>
            <a:r>
              <a:rPr lang="en-US" sz="2000">
                <a:solidFill>
                  <a:srgbClr val="000000"/>
                </a:solidFill>
              </a:rPr>
              <a:t>Following Copilot Studio connectors supports more granular control allowing admins to specify endpoint URLs by either allowing or denying them</a:t>
            </a:r>
          </a:p>
          <a:p>
            <a:pPr marL="742950" lvl="1" indent="-285750" defTabSz="457200">
              <a:spcAft>
                <a:spcPts val="800"/>
              </a:spcAft>
              <a:buFont typeface="Arial" panose="020B0604020202020204" pitchFamily="34" charset="0"/>
              <a:buChar char="•"/>
              <a:defRPr/>
            </a:pPr>
            <a:r>
              <a:rPr lang="en-US">
                <a:solidFill>
                  <a:srgbClr val="000000"/>
                </a:solidFill>
              </a:rPr>
              <a:t>Knowledge source with SharePoint Online and OneDrive</a:t>
            </a:r>
          </a:p>
          <a:p>
            <a:pPr marL="742950" lvl="1" indent="-285750" defTabSz="457200">
              <a:spcAft>
                <a:spcPts val="800"/>
              </a:spcAft>
              <a:buFont typeface="Arial" panose="020B0604020202020204" pitchFamily="34" charset="0"/>
              <a:buChar char="•"/>
              <a:defRPr/>
            </a:pPr>
            <a:r>
              <a:rPr lang="en-US">
                <a:solidFill>
                  <a:srgbClr val="000000"/>
                </a:solidFill>
              </a:rPr>
              <a:t>Knowledge source with public websites and data </a:t>
            </a:r>
          </a:p>
          <a:p>
            <a:pPr marL="285750" indent="-285750" defTabSz="457200">
              <a:spcAft>
                <a:spcPts val="800"/>
              </a:spcAft>
              <a:buFont typeface="Arial" panose="020B0604020202020204" pitchFamily="34" charset="0"/>
              <a:buChar char="•"/>
              <a:defRPr/>
            </a:pPr>
            <a:r>
              <a:rPr lang="en-US" sz="2000">
                <a:solidFill>
                  <a:srgbClr val="000000"/>
                </a:solidFill>
              </a:rPr>
              <a:t>Supports wildcards</a:t>
            </a:r>
          </a:p>
        </p:txBody>
      </p:sp>
      <p:grpSp>
        <p:nvGrpSpPr>
          <p:cNvPr id="10" name="Group 9">
            <a:extLst>
              <a:ext uri="{FF2B5EF4-FFF2-40B4-BE49-F238E27FC236}">
                <a16:creationId xmlns:a16="http://schemas.microsoft.com/office/drawing/2014/main" id="{EBA3B863-43A5-FDEE-F535-D037B349C033}"/>
              </a:ext>
            </a:extLst>
          </p:cNvPr>
          <p:cNvGrpSpPr/>
          <p:nvPr/>
        </p:nvGrpSpPr>
        <p:grpSpPr>
          <a:xfrm>
            <a:off x="587375" y="1769230"/>
            <a:ext cx="733658" cy="733652"/>
            <a:chOff x="584202" y="1692638"/>
            <a:chExt cx="796686" cy="796680"/>
          </a:xfrm>
        </p:grpSpPr>
        <p:sp>
          <p:nvSpPr>
            <p:cNvPr id="11" name="Oval 10">
              <a:extLst>
                <a:ext uri="{FF2B5EF4-FFF2-40B4-BE49-F238E27FC236}">
                  <a16:creationId xmlns:a16="http://schemas.microsoft.com/office/drawing/2014/main" id="{8457FDBB-5A55-EC8E-8C2E-3101AE4B922D}"/>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Graphic 80" descr="Icon of a lightbulb">
              <a:extLst>
                <a:ext uri="{FF2B5EF4-FFF2-40B4-BE49-F238E27FC236}">
                  <a16:creationId xmlns:a16="http://schemas.microsoft.com/office/drawing/2014/main" id="{0F8C226B-0C83-7F1C-8925-81539CE5D26E}"/>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4" name="Rounded Rectangle 18">
            <a:extLst>
              <a:ext uri="{FF2B5EF4-FFF2-40B4-BE49-F238E27FC236}">
                <a16:creationId xmlns:a16="http://schemas.microsoft.com/office/drawing/2014/main" id="{8F42EAA2-682D-766D-2A94-3BE22EAF4FE8}"/>
              </a:ext>
            </a:extLst>
          </p:cNvPr>
          <p:cNvSpPr/>
          <p:nvPr/>
        </p:nvSpPr>
        <p:spPr bwMode="auto">
          <a:xfrm>
            <a:off x="10721684" y="210090"/>
            <a:ext cx="1368000" cy="360000"/>
          </a:xfrm>
          <a:prstGeom prst="roundRect">
            <a:avLst/>
          </a:prstGeom>
          <a:solidFill>
            <a:srgbClr val="3168D0"/>
          </a:solidFill>
          <a:ln w="10795" cap="flat" cmpd="sng" algn="ctr">
            <a:noFill/>
            <a:prstDash val="solid"/>
          </a:ln>
          <a:effectLst/>
        </p:spPr>
        <p:txBody>
          <a:bodyPr lIns="36000" tIns="91440" rIns="36000" bIns="91440" rtlCol="0" anchor="ctr"/>
          <a:lstStyle/>
          <a:p>
            <a:pPr algn="ctr">
              <a:spcAft>
                <a:spcPts val="1200"/>
              </a:spcAft>
            </a:pPr>
            <a:r>
              <a:rPr lang="en-US" sz="1400" kern="0">
                <a:solidFill>
                  <a:prstClr val="white"/>
                </a:solidFill>
                <a:latin typeface="Segoe UI Semibold"/>
              </a:rPr>
              <a:t>Copilot Studio</a:t>
            </a:r>
            <a:endParaRPr lang="en-AU" sz="1400" kern="0">
              <a:solidFill>
                <a:prstClr val="white"/>
              </a:solidFill>
              <a:latin typeface="Segoe UI Semibold"/>
            </a:endParaRPr>
          </a:p>
        </p:txBody>
      </p:sp>
      <p:pic>
        <p:nvPicPr>
          <p:cNvPr id="14" name="Picture 13">
            <a:extLst>
              <a:ext uri="{FF2B5EF4-FFF2-40B4-BE49-F238E27FC236}">
                <a16:creationId xmlns:a16="http://schemas.microsoft.com/office/drawing/2014/main" id="{DFDBF48D-71B4-17C5-BCDD-B6A24F74E3AB}"/>
              </a:ext>
            </a:extLst>
          </p:cNvPr>
          <p:cNvPicPr>
            <a:picLocks noChangeAspect="1"/>
          </p:cNvPicPr>
          <p:nvPr/>
        </p:nvPicPr>
        <p:blipFill>
          <a:blip r:embed="rId3"/>
          <a:stretch>
            <a:fillRect/>
          </a:stretch>
        </p:blipFill>
        <p:spPr>
          <a:xfrm>
            <a:off x="7472611" y="1431955"/>
            <a:ext cx="4447831" cy="1475809"/>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CED95644-C8E4-3899-9145-63CFC298BA80}"/>
              </a:ext>
            </a:extLst>
          </p:cNvPr>
          <p:cNvPicPr>
            <a:picLocks noChangeAspect="1"/>
          </p:cNvPicPr>
          <p:nvPr/>
        </p:nvPicPr>
        <p:blipFill>
          <a:blip r:embed="rId4"/>
          <a:stretch>
            <a:fillRect/>
          </a:stretch>
        </p:blipFill>
        <p:spPr>
          <a:xfrm>
            <a:off x="7472610" y="3111303"/>
            <a:ext cx="4447831" cy="2028928"/>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D3045ACC-90A9-904B-6110-59B5AE500902}"/>
              </a:ext>
            </a:extLst>
          </p:cNvPr>
          <p:cNvPicPr>
            <a:picLocks noChangeAspect="1"/>
          </p:cNvPicPr>
          <p:nvPr/>
        </p:nvPicPr>
        <p:blipFill>
          <a:blip r:embed="rId5"/>
          <a:stretch>
            <a:fillRect/>
          </a:stretch>
        </p:blipFill>
        <p:spPr>
          <a:xfrm>
            <a:off x="7472610" y="5343770"/>
            <a:ext cx="4447830" cy="135179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3548923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364A7E-5250-F8B3-D4FE-3125C18F40FF}"/>
            </a:ext>
          </a:extLst>
        </p:cNvPr>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B738AA8-B298-F798-7163-6D2CAE001CC7}"/>
              </a:ext>
              <a:ext uri="{C183D7F6-B498-43B3-948B-1728B52AA6E4}">
                <adec:decorative xmlns:adec="http://schemas.microsoft.com/office/drawing/2017/decorative" val="1"/>
              </a:ext>
            </a:extLst>
          </p:cNvPr>
          <p:cNvCxnSpPr>
            <a:cxnSpLocks/>
          </p:cNvCxnSpPr>
          <p:nvPr/>
        </p:nvCxnSpPr>
        <p:spPr>
          <a:xfrm>
            <a:off x="0" y="2136056"/>
            <a:ext cx="6365174" cy="0"/>
          </a:xfrm>
          <a:prstGeom prst="line">
            <a:avLst/>
          </a:prstGeom>
          <a:noFill/>
          <a:ln w="25400" cap="rnd">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 name="Title 1">
            <a:extLst>
              <a:ext uri="{FF2B5EF4-FFF2-40B4-BE49-F238E27FC236}">
                <a16:creationId xmlns:a16="http://schemas.microsoft.com/office/drawing/2014/main" id="{33469616-FD34-EFA1-FE50-D5FEC5643A62}"/>
              </a:ext>
            </a:extLst>
          </p:cNvPr>
          <p:cNvSpPr>
            <a:spLocks noGrp="1"/>
          </p:cNvSpPr>
          <p:nvPr>
            <p:ph type="title"/>
          </p:nvPr>
        </p:nvSpPr>
        <p:spPr>
          <a:xfrm>
            <a:off x="587374" y="655434"/>
            <a:ext cx="11320608" cy="492125"/>
          </a:xfrm>
        </p:spPr>
        <p:txBody>
          <a:bodyPr>
            <a:noAutofit/>
          </a:bodyPr>
          <a:lstStyle/>
          <a:p>
            <a:r>
              <a:rPr lang="en-US" sz="3000">
                <a:ea typeface="+mj-ea"/>
                <a:cs typeface="+mj-cs"/>
              </a:rPr>
              <a:t>Review credit capacity and consumption in PPAC</a:t>
            </a:r>
          </a:p>
        </p:txBody>
      </p:sp>
      <p:sp>
        <p:nvSpPr>
          <p:cNvPr id="19" name="TextBox 18">
            <a:extLst>
              <a:ext uri="{FF2B5EF4-FFF2-40B4-BE49-F238E27FC236}">
                <a16:creationId xmlns:a16="http://schemas.microsoft.com/office/drawing/2014/main" id="{0DC4EA70-FD5F-AF49-881E-C2A4D3B9BABC}"/>
              </a:ext>
            </a:extLst>
          </p:cNvPr>
          <p:cNvSpPr txBox="1"/>
          <p:nvPr/>
        </p:nvSpPr>
        <p:spPr>
          <a:xfrm>
            <a:off x="587375" y="2625112"/>
            <a:ext cx="5777799" cy="2616101"/>
          </a:xfrm>
          <a:prstGeom prst="rect">
            <a:avLst/>
          </a:prstGeom>
          <a:noFill/>
        </p:spPr>
        <p:txBody>
          <a:bodyPr wrap="square" lIns="0" tIns="0" rIns="0" bIns="0" anchor="t">
            <a:spAutoFit/>
          </a:bodyPr>
          <a:lstStyle/>
          <a:p>
            <a:pPr lvl="0" defTabSz="457200">
              <a:spcAft>
                <a:spcPts val="1800"/>
              </a:spcAft>
              <a:defRPr/>
            </a:pPr>
            <a:r>
              <a:rPr lang="en-US" sz="2000">
                <a:solidFill>
                  <a:srgbClr val="000000"/>
                </a:solidFill>
              </a:rPr>
              <a:t>You can monitor usage of Copilot Credits in the </a:t>
            </a:r>
            <a:r>
              <a:rPr lang="en-US" sz="2000" b="1">
                <a:solidFill>
                  <a:srgbClr val="000000"/>
                </a:solidFill>
              </a:rPr>
              <a:t>Licensing</a:t>
            </a:r>
            <a:r>
              <a:rPr lang="en-US" sz="2000">
                <a:solidFill>
                  <a:srgbClr val="000000"/>
                </a:solidFill>
              </a:rPr>
              <a:t> &gt; </a:t>
            </a:r>
            <a:r>
              <a:rPr lang="en-US" sz="2000" b="1">
                <a:solidFill>
                  <a:srgbClr val="000000"/>
                </a:solidFill>
              </a:rPr>
              <a:t>Products </a:t>
            </a:r>
            <a:r>
              <a:rPr lang="en-US" sz="2000">
                <a:solidFill>
                  <a:srgbClr val="000000"/>
                </a:solidFill>
              </a:rPr>
              <a:t>&gt; </a:t>
            </a:r>
            <a:r>
              <a:rPr lang="en-US" sz="2000" b="1">
                <a:solidFill>
                  <a:srgbClr val="000000"/>
                </a:solidFill>
              </a:rPr>
              <a:t>Copilot Studio</a:t>
            </a:r>
          </a:p>
          <a:p>
            <a:pPr lvl="0" defTabSz="457200">
              <a:spcAft>
                <a:spcPts val="1800"/>
              </a:spcAft>
              <a:defRPr/>
            </a:pPr>
            <a:r>
              <a:rPr lang="en-US" sz="2000">
                <a:solidFill>
                  <a:srgbClr val="000000"/>
                </a:solidFill>
              </a:rPr>
              <a:t>You are provided with details in the credits capacity tab for both prepaid as well as pay-as-you-go consumption for the current month, two previous months and last 12 months</a:t>
            </a:r>
          </a:p>
          <a:p>
            <a:pPr lvl="0" defTabSz="457200">
              <a:spcAft>
                <a:spcPts val="1800"/>
              </a:spcAft>
              <a:defRPr/>
            </a:pPr>
            <a:r>
              <a:rPr lang="en-US" sz="2000">
                <a:solidFill>
                  <a:srgbClr val="000000"/>
                </a:solidFill>
              </a:rPr>
              <a:t>Reports can be downloaded as Excel reports  </a:t>
            </a:r>
          </a:p>
        </p:txBody>
      </p:sp>
      <p:grpSp>
        <p:nvGrpSpPr>
          <p:cNvPr id="11" name="Group 10">
            <a:extLst>
              <a:ext uri="{FF2B5EF4-FFF2-40B4-BE49-F238E27FC236}">
                <a16:creationId xmlns:a16="http://schemas.microsoft.com/office/drawing/2014/main" id="{EF277DBE-EEC6-6A0F-E4C8-61BFC42DE60B}"/>
              </a:ext>
            </a:extLst>
          </p:cNvPr>
          <p:cNvGrpSpPr/>
          <p:nvPr/>
        </p:nvGrpSpPr>
        <p:grpSpPr>
          <a:xfrm>
            <a:off x="587375" y="1769230"/>
            <a:ext cx="733658" cy="733652"/>
            <a:chOff x="584202" y="1692638"/>
            <a:chExt cx="796686" cy="796680"/>
          </a:xfrm>
        </p:grpSpPr>
        <p:sp>
          <p:nvSpPr>
            <p:cNvPr id="12" name="Oval 11">
              <a:extLst>
                <a:ext uri="{FF2B5EF4-FFF2-40B4-BE49-F238E27FC236}">
                  <a16:creationId xmlns:a16="http://schemas.microsoft.com/office/drawing/2014/main" id="{ADA9EE7A-EA95-4331-CF15-401CBDCE3EE7}"/>
                </a:ext>
              </a:extLst>
            </p:cNvPr>
            <p:cNvSpPr/>
            <p:nvPr/>
          </p:nvSpPr>
          <p:spPr bwMode="auto">
            <a:xfrm>
              <a:off x="584202" y="1692638"/>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 name="Graphic 80" descr="Icon of a lightbulb">
              <a:extLst>
                <a:ext uri="{FF2B5EF4-FFF2-40B4-BE49-F238E27FC236}">
                  <a16:creationId xmlns:a16="http://schemas.microsoft.com/office/drawing/2014/main" id="{32A26B34-4ACD-CF6B-FA10-92A033D66428}"/>
                </a:ext>
              </a:extLst>
            </p:cNvPr>
            <p:cNvSpPr>
              <a:spLocks/>
            </p:cNvSpPr>
            <p:nvPr/>
          </p:nvSpPr>
          <p:spPr>
            <a:xfrm>
              <a:off x="822461" y="1865777"/>
              <a:ext cx="311337" cy="429401"/>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76200 w 138112"/>
                <a:gd name="connsiteY14" fmla="*/ 147618 h 190490"/>
                <a:gd name="connsiteX15" fmla="*/ 76200 w 138112"/>
                <a:gd name="connsiteY15" fmla="*/ 83334 h 190490"/>
                <a:gd name="connsiteX16" fmla="*/ 69056 w 138112"/>
                <a:gd name="connsiteY16" fmla="*/ 76190 h 190490"/>
                <a:gd name="connsiteX17" fmla="*/ 61913 w 138112"/>
                <a:gd name="connsiteY17" fmla="*/ 83334 h 190490"/>
                <a:gd name="connsiteX18" fmla="*/ 61913 w 138112"/>
                <a:gd name="connsiteY18" fmla="*/ 147628 h 190490"/>
                <a:gd name="connsiteX19" fmla="*/ 32042 w 138112"/>
                <a:gd name="connsiteY19" fmla="*/ 147628 h 190490"/>
                <a:gd name="connsiteX20" fmla="*/ 27032 w 138112"/>
                <a:gd name="connsiteY20" fmla="*/ 125882 h 190490"/>
                <a:gd name="connsiteX21" fmla="*/ 26356 w 138112"/>
                <a:gd name="connsiteY21" fmla="*/ 124701 h 190490"/>
                <a:gd name="connsiteX22" fmla="*/ 0 w 138112"/>
                <a:gd name="connsiteY22" fmla="*/ 69047 h 190490"/>
                <a:gd name="connsiteX23" fmla="*/ 69056 w 138112"/>
                <a:gd name="connsiteY23" fmla="*/ 0 h 190490"/>
                <a:gd name="connsiteX24" fmla="*/ 61913 w 138112"/>
                <a:gd name="connsiteY24" fmla="*/ 45244 h 190490"/>
                <a:gd name="connsiteX25" fmla="*/ 61913 w 138112"/>
                <a:gd name="connsiteY25" fmla="*/ 59531 h 190490"/>
                <a:gd name="connsiteX26" fmla="*/ 69056 w 138112"/>
                <a:gd name="connsiteY26" fmla="*/ 66675 h 190490"/>
                <a:gd name="connsiteX27" fmla="*/ 76200 w 138112"/>
                <a:gd name="connsiteY27" fmla="*/ 59531 h 190490"/>
                <a:gd name="connsiteX28" fmla="*/ 76200 w 138112"/>
                <a:gd name="connsiteY28" fmla="*/ 45244 h 190490"/>
                <a:gd name="connsiteX29" fmla="*/ 69056 w 138112"/>
                <a:gd name="connsiteY29" fmla="*/ 38100 h 190490"/>
                <a:gd name="connsiteX30" fmla="*/ 61913 w 138112"/>
                <a:gd name="connsiteY30" fmla="*/ 45244 h 190490"/>
                <a:gd name="connsiteX31" fmla="*/ 109823 w 138112"/>
                <a:gd name="connsiteY31" fmla="*/ 59198 h 190490"/>
                <a:gd name="connsiteX32" fmla="*/ 99727 w 138112"/>
                <a:gd name="connsiteY32" fmla="*/ 59198 h 190490"/>
                <a:gd name="connsiteX33" fmla="*/ 89621 w 138112"/>
                <a:gd name="connsiteY33" fmla="*/ 69294 h 190490"/>
                <a:gd name="connsiteX34" fmla="*/ 89441 w 138112"/>
                <a:gd name="connsiteY34" fmla="*/ 79396 h 190490"/>
                <a:gd name="connsiteX35" fmla="*/ 99542 w 138112"/>
                <a:gd name="connsiteY35" fmla="*/ 79576 h 190490"/>
                <a:gd name="connsiteX36" fmla="*/ 99717 w 138112"/>
                <a:gd name="connsiteY36" fmla="*/ 79400 h 190490"/>
                <a:gd name="connsiteX37" fmla="*/ 109823 w 138112"/>
                <a:gd name="connsiteY37" fmla="*/ 69304 h 190490"/>
                <a:gd name="connsiteX38" fmla="*/ 109823 w 138112"/>
                <a:gd name="connsiteY38" fmla="*/ 59207 h 190490"/>
                <a:gd name="connsiteX39" fmla="*/ 38386 w 138112"/>
                <a:gd name="connsiteY39" fmla="*/ 59198 h 190490"/>
                <a:gd name="connsiteX40" fmla="*/ 28289 w 138112"/>
                <a:gd name="connsiteY40" fmla="*/ 59554 h 190490"/>
                <a:gd name="connsiteX41" fmla="*/ 28289 w 138112"/>
                <a:gd name="connsiteY41" fmla="*/ 69294 h 190490"/>
                <a:gd name="connsiteX42" fmla="*/ 38386 w 138112"/>
                <a:gd name="connsiteY42" fmla="*/ 79400 h 190490"/>
                <a:gd name="connsiteX43" fmla="*/ 48487 w 138112"/>
                <a:gd name="connsiteY43" fmla="*/ 79580 h 190490"/>
                <a:gd name="connsiteX44" fmla="*/ 48667 w 138112"/>
                <a:gd name="connsiteY44" fmla="*/ 69479 h 190490"/>
                <a:gd name="connsiteX45" fmla="*/ 48492 w 138112"/>
                <a:gd name="connsiteY45" fmla="*/ 69304 h 190490"/>
                <a:gd name="connsiteX46" fmla="*/ 38395 w 138112"/>
                <a:gd name="connsiteY46" fmla="*/ 59207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76200" y="147618"/>
                  </a:lnTo>
                  <a:lnTo>
                    <a:pt x="76200" y="83334"/>
                  </a:lnTo>
                  <a:cubicBezTo>
                    <a:pt x="76200" y="79389"/>
                    <a:pt x="73002" y="76190"/>
                    <a:pt x="69056" y="76190"/>
                  </a:cubicBezTo>
                  <a:cubicBezTo>
                    <a:pt x="65111" y="76190"/>
                    <a:pt x="61913" y="79389"/>
                    <a:pt x="61913" y="83334"/>
                  </a:cubicBezTo>
                  <a:lnTo>
                    <a:pt x="61913" y="147628"/>
                  </a:lnTo>
                  <a:lnTo>
                    <a:pt x="32042" y="147628"/>
                  </a:lnTo>
                  <a:lnTo>
                    <a:pt x="27032" y="125882"/>
                  </a:lnTo>
                  <a:cubicBezTo>
                    <a:pt x="26926" y="125431"/>
                    <a:pt x="26691" y="125020"/>
                    <a:pt x="26356" y="124701"/>
                  </a:cubicBezTo>
                  <a:cubicBezTo>
                    <a:pt x="8925" y="108042"/>
                    <a:pt x="0" y="89402"/>
                    <a:pt x="0" y="69047"/>
                  </a:cubicBezTo>
                  <a:cubicBezTo>
                    <a:pt x="5" y="30912"/>
                    <a:pt x="30921" y="0"/>
                    <a:pt x="69056" y="0"/>
                  </a:cubicBezTo>
                  <a:close/>
                  <a:moveTo>
                    <a:pt x="61913" y="45244"/>
                  </a:moveTo>
                  <a:lnTo>
                    <a:pt x="61913" y="59531"/>
                  </a:lnTo>
                  <a:cubicBezTo>
                    <a:pt x="61913" y="63477"/>
                    <a:pt x="65111" y="66675"/>
                    <a:pt x="69056" y="66675"/>
                  </a:cubicBezTo>
                  <a:cubicBezTo>
                    <a:pt x="73002" y="66675"/>
                    <a:pt x="76200" y="63477"/>
                    <a:pt x="76200" y="59531"/>
                  </a:cubicBezTo>
                  <a:lnTo>
                    <a:pt x="76200" y="45244"/>
                  </a:lnTo>
                  <a:cubicBezTo>
                    <a:pt x="76200" y="41298"/>
                    <a:pt x="73002" y="38100"/>
                    <a:pt x="69056" y="38100"/>
                  </a:cubicBezTo>
                  <a:cubicBezTo>
                    <a:pt x="65111" y="38100"/>
                    <a:pt x="61913" y="41298"/>
                    <a:pt x="61913" y="45244"/>
                  </a:cubicBezTo>
                  <a:close/>
                  <a:moveTo>
                    <a:pt x="109823" y="59198"/>
                  </a:moveTo>
                  <a:cubicBezTo>
                    <a:pt x="107034" y="56412"/>
                    <a:pt x="102516" y="56412"/>
                    <a:pt x="99727" y="59198"/>
                  </a:cubicBezTo>
                  <a:lnTo>
                    <a:pt x="89621" y="69294"/>
                  </a:lnTo>
                  <a:cubicBezTo>
                    <a:pt x="86781" y="72034"/>
                    <a:pt x="86701" y="76556"/>
                    <a:pt x="89441" y="79396"/>
                  </a:cubicBezTo>
                  <a:cubicBezTo>
                    <a:pt x="92180" y="82235"/>
                    <a:pt x="96703" y="82315"/>
                    <a:pt x="99542" y="79576"/>
                  </a:cubicBezTo>
                  <a:cubicBezTo>
                    <a:pt x="99601" y="79519"/>
                    <a:pt x="99660" y="79459"/>
                    <a:pt x="99717" y="79400"/>
                  </a:cubicBezTo>
                  <a:lnTo>
                    <a:pt x="109823" y="69304"/>
                  </a:lnTo>
                  <a:cubicBezTo>
                    <a:pt x="112609" y="66515"/>
                    <a:pt x="112609" y="61997"/>
                    <a:pt x="109823" y="59207"/>
                  </a:cubicBezTo>
                  <a:close/>
                  <a:moveTo>
                    <a:pt x="38386" y="59198"/>
                  </a:moveTo>
                  <a:cubicBezTo>
                    <a:pt x="35499" y="56508"/>
                    <a:pt x="30979" y="56668"/>
                    <a:pt x="28289" y="59554"/>
                  </a:cubicBezTo>
                  <a:cubicBezTo>
                    <a:pt x="25733" y="62298"/>
                    <a:pt x="25733" y="66551"/>
                    <a:pt x="28289" y="69294"/>
                  </a:cubicBezTo>
                  <a:lnTo>
                    <a:pt x="38386" y="79400"/>
                  </a:lnTo>
                  <a:cubicBezTo>
                    <a:pt x="41125" y="82240"/>
                    <a:pt x="45648" y="82320"/>
                    <a:pt x="48487" y="79580"/>
                  </a:cubicBezTo>
                  <a:cubicBezTo>
                    <a:pt x="51326" y="76841"/>
                    <a:pt x="51406" y="72319"/>
                    <a:pt x="48667" y="69479"/>
                  </a:cubicBezTo>
                  <a:cubicBezTo>
                    <a:pt x="48610" y="69420"/>
                    <a:pt x="48551" y="69361"/>
                    <a:pt x="48492" y="69304"/>
                  </a:cubicBezTo>
                  <a:lnTo>
                    <a:pt x="38395" y="59207"/>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5" name="Rectangle: Rounded Corners 14">
            <a:extLst>
              <a:ext uri="{FF2B5EF4-FFF2-40B4-BE49-F238E27FC236}">
                <a16:creationId xmlns:a16="http://schemas.microsoft.com/office/drawing/2014/main" id="{739C6F3B-FBD4-6D0B-FE72-E8AF89F16E0F}"/>
              </a:ext>
              <a:ext uri="{C183D7F6-B498-43B3-948B-1728B52AA6E4}">
                <adec:decorative xmlns:adec="http://schemas.microsoft.com/office/drawing/2017/decorative" val="0"/>
              </a:ext>
            </a:extLst>
          </p:cNvPr>
          <p:cNvSpPr/>
          <p:nvPr/>
        </p:nvSpPr>
        <p:spPr bwMode="auto">
          <a:xfrm>
            <a:off x="587374" y="179661"/>
            <a:ext cx="3861963" cy="36576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a:solidFill>
                  <a:srgbClr val="FFFFFF"/>
                </a:solidFill>
                <a:latin typeface="Segoe UI Semibold"/>
              </a:rPr>
              <a:t>Power Platform Admin Center</a:t>
            </a:r>
          </a:p>
        </p:txBody>
      </p:sp>
      <p:pic>
        <p:nvPicPr>
          <p:cNvPr id="3" name="Picture 2" descr="Image of Copilot Studio message capacity screen">
            <a:extLst>
              <a:ext uri="{FF2B5EF4-FFF2-40B4-BE49-F238E27FC236}">
                <a16:creationId xmlns:a16="http://schemas.microsoft.com/office/drawing/2014/main" id="{18AB7785-27BA-FC5D-FAFB-EC095E09AEB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584584" y="1928671"/>
            <a:ext cx="5323397" cy="2993198"/>
          </a:xfrm>
          <a:prstGeom prst="rect">
            <a:avLst/>
          </a:prstGeom>
          <a:ln>
            <a:noFill/>
          </a:ln>
          <a:effectLst>
            <a:outerShdw blurRad="292100" dist="139700" dir="2700000" algn="tl" rotWithShape="0">
              <a:srgbClr val="333333">
                <a:alpha val="65000"/>
              </a:srgbClr>
            </a:outerShdw>
          </a:effectLst>
        </p:spPr>
      </p:pic>
      <p:sp>
        <p:nvSpPr>
          <p:cNvPr id="21" name="Rounded Rectangle 18">
            <a:extLst>
              <a:ext uri="{FF2B5EF4-FFF2-40B4-BE49-F238E27FC236}">
                <a16:creationId xmlns:a16="http://schemas.microsoft.com/office/drawing/2014/main" id="{8B4FDD66-874E-4550-6778-64A318B84DE6}"/>
              </a:ext>
            </a:extLst>
          </p:cNvPr>
          <p:cNvSpPr/>
          <p:nvPr/>
        </p:nvSpPr>
        <p:spPr bwMode="auto">
          <a:xfrm>
            <a:off x="10721684" y="210090"/>
            <a:ext cx="1368000" cy="360000"/>
          </a:xfrm>
          <a:prstGeom prst="roundRect">
            <a:avLst/>
          </a:prstGeom>
          <a:solidFill>
            <a:srgbClr val="3168D0"/>
          </a:solidFill>
          <a:ln w="10795" cap="flat" cmpd="sng" algn="ctr">
            <a:noFill/>
            <a:prstDash val="solid"/>
          </a:ln>
          <a:effectLst/>
        </p:spPr>
        <p:txBody>
          <a:bodyPr lIns="36000" tIns="91440" rIns="36000" bIns="91440" rtlCol="0" anchor="ctr"/>
          <a:lstStyle/>
          <a:p>
            <a:pPr algn="ctr">
              <a:spcAft>
                <a:spcPts val="1200"/>
              </a:spcAft>
            </a:pPr>
            <a:r>
              <a:rPr lang="en-US" sz="1400" kern="0">
                <a:solidFill>
                  <a:prstClr val="white"/>
                </a:solidFill>
                <a:latin typeface="Segoe UI Semibold"/>
              </a:rPr>
              <a:t>Copilot Studio</a:t>
            </a:r>
            <a:endParaRPr lang="en-AU" sz="1400" kern="0">
              <a:solidFill>
                <a:prstClr val="white"/>
              </a:solidFill>
              <a:latin typeface="Segoe UI Semibold"/>
            </a:endParaRPr>
          </a:p>
        </p:txBody>
      </p:sp>
    </p:spTree>
    <p:extLst>
      <p:ext uri="{BB962C8B-B14F-4D97-AF65-F5344CB8AC3E}">
        <p14:creationId xmlns:p14="http://schemas.microsoft.com/office/powerpoint/2010/main" val="13194397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42" presetClass="path" presetSubtype="0" decel="100000" fill="hold" nodeType="withEffect">
                                  <p:stCondLst>
                                    <p:cond delay="0"/>
                                  </p:stCondLst>
                                  <p:childTnLst>
                                    <p:animMotion origin="layout" path="M -0.01719 -0.00023 L 2.29167E-6 -4.07407E-6 " pathEditMode="relative" rAng="0" ptsTypes="AA">
                                      <p:cBhvr>
                                        <p:cTn id="9" dur="500" fill="hold"/>
                                        <p:tgtEl>
                                          <p:spTgt spid="10"/>
                                        </p:tgtEl>
                                        <p:attrNameLst>
                                          <p:attrName>ppt_x</p:attrName>
                                          <p:attrName>ppt_y</p:attrName>
                                        </p:attrNameLst>
                                      </p:cBhvr>
                                      <p:rCtr x="859"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250"/>
                                        <p:tgtEl>
                                          <p:spTgt spid="11"/>
                                        </p:tgtEl>
                                      </p:cBhvr>
                                    </p:animEffect>
                                  </p:childTnLst>
                                </p:cTn>
                              </p:par>
                              <p:par>
                                <p:cTn id="13" presetID="42" presetClass="path" presetSubtype="0" decel="100000" fill="hold" nodeType="withEffect">
                                  <p:stCondLst>
                                    <p:cond delay="0"/>
                                  </p:stCondLst>
                                  <p:childTnLst>
                                    <p:animMotion origin="layout" path="M -0.01719 -0.00023 L -1.25E-6 1.85185E-6 " pathEditMode="relative" rAng="0" ptsTypes="AA">
                                      <p:cBhvr>
                                        <p:cTn id="14" dur="500" fill="hold"/>
                                        <p:tgtEl>
                                          <p:spTgt spid="11"/>
                                        </p:tgtEl>
                                        <p:attrNameLst>
                                          <p:attrName>ppt_x</p:attrName>
                                          <p:attrName>ppt_y</p:attrName>
                                        </p:attrNameLst>
                                      </p:cBhvr>
                                      <p:rCtr x="859" y="0"/>
                                    </p:animMotion>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250"/>
                                        <p:tgtEl>
                                          <p:spTgt spid="15"/>
                                        </p:tgtEl>
                                      </p:cBhvr>
                                    </p:animEffect>
                                  </p:childTnLst>
                                </p:cTn>
                              </p:par>
                              <p:par>
                                <p:cTn id="18" presetID="42" presetClass="path" presetSubtype="0" decel="100000" fill="hold" grpId="1" nodeType="withEffect">
                                  <p:stCondLst>
                                    <p:cond delay="0"/>
                                  </p:stCondLst>
                                  <p:childTnLst>
                                    <p:animMotion origin="layout" path="M -4.16667E-7 -0.03472 L -4.16667E-7 2.22222E-6 " pathEditMode="relative" rAng="0" ptsTypes="AA">
                                      <p:cBhvr>
                                        <p:cTn id="19" dur="500" fill="hold"/>
                                        <p:tgtEl>
                                          <p:spTgt spid="15"/>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E5CE7-CCE5-CD5F-39AA-0FFB998A8990}"/>
            </a:ext>
          </a:extLst>
        </p:cNvPr>
        <p:cNvGrpSpPr/>
        <p:nvPr/>
      </p:nvGrpSpPr>
      <p:grpSpPr>
        <a:xfrm>
          <a:off x="0" y="0"/>
          <a:ext cx="0" cy="0"/>
          <a:chOff x="0" y="0"/>
          <a:chExt cx="0" cy="0"/>
        </a:xfrm>
      </p:grpSpPr>
      <p:sp>
        <p:nvSpPr>
          <p:cNvPr id="8" name="Rounded Rectangle 12">
            <a:extLst>
              <a:ext uri="{FF2B5EF4-FFF2-40B4-BE49-F238E27FC236}">
                <a16:creationId xmlns:a16="http://schemas.microsoft.com/office/drawing/2014/main" id="{D6E19608-C24F-1113-D8CE-6874B038A879}"/>
              </a:ext>
            </a:extLst>
          </p:cNvPr>
          <p:cNvSpPr/>
          <p:nvPr/>
        </p:nvSpPr>
        <p:spPr>
          <a:xfrm>
            <a:off x="4304083" y="2737783"/>
            <a:ext cx="7665500" cy="767367"/>
          </a:xfrm>
          <a:prstGeom prst="roundRect">
            <a:avLst>
              <a:gd name="adj" fmla="val 26594"/>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0640" numCol="1" spcCol="0" rtlCol="0" fromWordArt="0" anchor="t" anchorCtr="0" forceAA="0" compatLnSpc="1">
            <a:prstTxWarp prst="textNoShape">
              <a:avLst/>
            </a:prstTxWarp>
            <a:noAutofit/>
          </a:bodyPr>
          <a:lstStyle/>
          <a:p>
            <a:pPr defTabSz="698548">
              <a:defRPr/>
            </a:pPr>
            <a:r>
              <a:rPr lang="en-US">
                <a:solidFill>
                  <a:srgbClr val="080808"/>
                </a:solidFill>
                <a:latin typeface="Segoe UI"/>
                <a:cs typeface="Segoe Sans Display Semibold"/>
              </a:rPr>
              <a:t>Are you leveraging Agents Usage reports available in MAC?</a:t>
            </a:r>
            <a:endParaRPr kumimoji="0" lang="en-AU" sz="1800" b="0" i="0" u="none" strike="noStrike" kern="1200" cap="none" spc="0" normalizeH="0" baseline="0" noProof="0">
              <a:ln>
                <a:noFill/>
              </a:ln>
              <a:solidFill>
                <a:srgbClr val="080808"/>
              </a:solidFill>
              <a:effectLst/>
              <a:uLnTx/>
              <a:uFillTx/>
              <a:latin typeface="Segoe UI"/>
              <a:ea typeface="+mn-ea"/>
              <a:cs typeface="Segoe Sans Display Semibold"/>
            </a:endParaRPr>
          </a:p>
        </p:txBody>
      </p:sp>
      <p:sp>
        <p:nvSpPr>
          <p:cNvPr id="13" name="Title 1">
            <a:extLst>
              <a:ext uri="{FF2B5EF4-FFF2-40B4-BE49-F238E27FC236}">
                <a16:creationId xmlns:a16="http://schemas.microsoft.com/office/drawing/2014/main" id="{4FCD5A4C-2CD7-D516-68E1-164E37855F17}"/>
              </a:ext>
            </a:extLst>
          </p:cNvPr>
          <p:cNvSpPr txBox="1">
            <a:spLocks/>
          </p:cNvSpPr>
          <p:nvPr/>
        </p:nvSpPr>
        <p:spPr>
          <a:xfrm>
            <a:off x="514147" y="3121467"/>
            <a:ext cx="3299318" cy="430887"/>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a:ln w="3175">
                  <a:noFill/>
                </a:ln>
                <a:gradFill>
                  <a:gsLst>
                    <a:gs pos="22000">
                      <a:schemeClr val="accent2"/>
                    </a:gs>
                    <a:gs pos="100000">
                      <a:schemeClr val="accent3"/>
                    </a:gs>
                  </a:gsLst>
                  <a:lin ang="2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50" normalizeH="0" baseline="0" noProof="0">
                <a:ln w="3175">
                  <a:noFill/>
                </a:ln>
                <a:gradFill>
                  <a:gsLst>
                    <a:gs pos="22000">
                      <a:srgbClr val="2A446F"/>
                    </a:gs>
                    <a:gs pos="100000">
                      <a:srgbClr val="C03BC4"/>
                    </a:gs>
                  </a:gsLst>
                  <a:lin ang="2400000" scaled="0"/>
                </a:gradFill>
                <a:effectLst/>
                <a:uLnTx/>
                <a:uFillTx/>
                <a:latin typeface="Segoe UI Semibold"/>
                <a:ea typeface="+mn-ea"/>
                <a:cs typeface="Segoe UI" pitchFamily="34" charset="0"/>
              </a:rPr>
              <a:t>General</a:t>
            </a:r>
          </a:p>
        </p:txBody>
      </p:sp>
      <p:cxnSp>
        <p:nvCxnSpPr>
          <p:cNvPr id="14" name="Straight Connector 13">
            <a:extLst>
              <a:ext uri="{FF2B5EF4-FFF2-40B4-BE49-F238E27FC236}">
                <a16:creationId xmlns:a16="http://schemas.microsoft.com/office/drawing/2014/main" id="{78A33993-8DBD-8BC1-1DE9-2D4E5DFC2D59}"/>
              </a:ext>
              <a:ext uri="{C183D7F6-B498-43B3-948B-1728B52AA6E4}">
                <adec:decorative xmlns:adec="http://schemas.microsoft.com/office/drawing/2017/decorative" val="1"/>
              </a:ext>
            </a:extLst>
          </p:cNvPr>
          <p:cNvCxnSpPr>
            <a:cxnSpLocks/>
          </p:cNvCxnSpPr>
          <p:nvPr/>
        </p:nvCxnSpPr>
        <p:spPr>
          <a:xfrm>
            <a:off x="542433" y="3796314"/>
            <a:ext cx="3000867" cy="0"/>
          </a:xfrm>
          <a:prstGeom prst="line">
            <a:avLst/>
          </a:prstGeom>
          <a:ln w="19050">
            <a:gradFill flip="none" rotWithShape="1">
              <a:gsLst>
                <a:gs pos="0">
                  <a:srgbClr val="399A91"/>
                </a:gs>
                <a:gs pos="100000">
                  <a:srgbClr val="0078D4"/>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Rounded Rectangle 12">
            <a:extLst>
              <a:ext uri="{FF2B5EF4-FFF2-40B4-BE49-F238E27FC236}">
                <a16:creationId xmlns:a16="http://schemas.microsoft.com/office/drawing/2014/main" id="{A10CFA41-8ACE-A767-AF51-06C31F027496}"/>
              </a:ext>
            </a:extLst>
          </p:cNvPr>
          <p:cNvSpPr/>
          <p:nvPr/>
        </p:nvSpPr>
        <p:spPr>
          <a:xfrm>
            <a:off x="4304083" y="1490807"/>
            <a:ext cx="7645833" cy="767367"/>
          </a:xfrm>
          <a:prstGeom prst="roundRect">
            <a:avLst>
              <a:gd name="adj" fmla="val 27657"/>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0640" numCol="1" spcCol="0" rtlCol="0" fromWordArt="0" anchor="t" anchorCtr="0" forceAA="0" compatLnSpc="1">
            <a:prstTxWarp prst="textNoShape">
              <a:avLst/>
            </a:prstTxWarp>
            <a:noAutofit/>
          </a:bodyPr>
          <a:lstStyle/>
          <a:p>
            <a:pPr lvl="0" defTabSz="698548">
              <a:defRPr/>
            </a:pPr>
            <a:r>
              <a:rPr lang="en-US">
                <a:solidFill>
                  <a:srgbClr val="080808"/>
                </a:solidFill>
                <a:cs typeface="Segoe Sans Display Semibold"/>
              </a:rPr>
              <a:t>Are you leveraging Agent Inventory available in Copilot Control System?</a:t>
            </a:r>
            <a:endParaRPr kumimoji="0" lang="en-AU" sz="1800" b="0" i="0" u="none" strike="noStrike" kern="1200" cap="none" spc="0" normalizeH="0" baseline="0" noProof="0">
              <a:ln>
                <a:noFill/>
              </a:ln>
              <a:solidFill>
                <a:srgbClr val="080808"/>
              </a:solidFill>
              <a:effectLst/>
              <a:uLnTx/>
              <a:uFillTx/>
              <a:latin typeface="Segoe UI"/>
              <a:ea typeface="+mn-ea"/>
              <a:cs typeface="Segoe Sans Display Semibold"/>
            </a:endParaRPr>
          </a:p>
        </p:txBody>
      </p:sp>
      <p:sp>
        <p:nvSpPr>
          <p:cNvPr id="2" name="Title 1">
            <a:extLst>
              <a:ext uri="{FF2B5EF4-FFF2-40B4-BE49-F238E27FC236}">
                <a16:creationId xmlns:a16="http://schemas.microsoft.com/office/drawing/2014/main" id="{1C6D7E3A-578A-B06A-5557-8B6D266B2B74}"/>
              </a:ext>
            </a:extLst>
          </p:cNvPr>
          <p:cNvSpPr txBox="1">
            <a:spLocks/>
          </p:cNvSpPr>
          <p:nvPr/>
        </p:nvSpPr>
        <p:spPr>
          <a:xfrm>
            <a:off x="494519" y="518755"/>
            <a:ext cx="3809565" cy="492443"/>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a:ln w="3175">
                  <a:noFill/>
                </a:ln>
                <a:gradFill>
                  <a:gsLst>
                    <a:gs pos="22000">
                      <a:schemeClr val="accent2"/>
                    </a:gs>
                    <a:gs pos="100000">
                      <a:schemeClr val="accent3"/>
                    </a:gs>
                  </a:gsLst>
                  <a:lin ang="2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AU" sz="3200" b="0" i="0" u="none" strike="noStrike" kern="1200" cap="none" spc="-50" normalizeH="0" baseline="0" noProof="0">
                <a:ln w="3175">
                  <a:noFill/>
                </a:ln>
                <a:gradFill>
                  <a:gsLst>
                    <a:gs pos="22000">
                      <a:srgbClr val="2A446F"/>
                    </a:gs>
                    <a:gs pos="100000">
                      <a:srgbClr val="C03BC4"/>
                    </a:gs>
                  </a:gsLst>
                  <a:lin ang="2400000" scaled="0"/>
                </a:gradFill>
                <a:effectLst/>
                <a:uLnTx/>
                <a:uFillTx/>
                <a:latin typeface="Segoe UI Semibold"/>
                <a:ea typeface="+mn-ea"/>
                <a:cs typeface="Segoe UI" pitchFamily="34" charset="0"/>
              </a:rPr>
              <a:t>Discussion </a:t>
            </a:r>
          </a:p>
        </p:txBody>
      </p:sp>
      <p:sp>
        <p:nvSpPr>
          <p:cNvPr id="3" name="Rounded Rectangle 12">
            <a:extLst>
              <a:ext uri="{FF2B5EF4-FFF2-40B4-BE49-F238E27FC236}">
                <a16:creationId xmlns:a16="http://schemas.microsoft.com/office/drawing/2014/main" id="{C9F5AF52-6383-EF65-528D-8A5CEB4CACD0}"/>
              </a:ext>
            </a:extLst>
          </p:cNvPr>
          <p:cNvSpPr/>
          <p:nvPr/>
        </p:nvSpPr>
        <p:spPr>
          <a:xfrm>
            <a:off x="4304083" y="3984759"/>
            <a:ext cx="7665500" cy="1044441"/>
          </a:xfrm>
          <a:prstGeom prst="roundRect">
            <a:avLst>
              <a:gd name="adj" fmla="val 26594"/>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0640" numCol="1" spcCol="0" rtlCol="0" fromWordArt="0" anchor="t" anchorCtr="0" forceAA="0" compatLnSpc="1">
            <a:prstTxWarp prst="textNoShape">
              <a:avLst/>
            </a:prstTxWarp>
            <a:noAutofit/>
          </a:bodyPr>
          <a:lstStyle/>
          <a:p>
            <a:pPr defTabSz="698548">
              <a:defRPr/>
            </a:pPr>
            <a:r>
              <a:rPr lang="en-US">
                <a:solidFill>
                  <a:srgbClr val="080808"/>
                </a:solidFill>
                <a:latin typeface="Segoe UI"/>
                <a:cs typeface="Segoe Sans Display Semibold"/>
              </a:rPr>
              <a:t>If you have Copilot Credit Packs and/or pay-as-you-go configured in the tenant, then do you monitor Copilot Credits consumption in MAC and/or PPAC?</a:t>
            </a:r>
            <a:endParaRPr kumimoji="0" lang="en-AU" sz="1800" b="0" i="0" u="none" strike="noStrike" kern="1200" cap="none" spc="0" normalizeH="0" baseline="0" noProof="0">
              <a:ln>
                <a:noFill/>
              </a:ln>
              <a:solidFill>
                <a:srgbClr val="080808"/>
              </a:solidFill>
              <a:effectLst/>
              <a:uLnTx/>
              <a:uFillTx/>
              <a:latin typeface="Segoe UI"/>
              <a:ea typeface="+mn-ea"/>
              <a:cs typeface="Segoe Sans Display Semibold"/>
            </a:endParaRPr>
          </a:p>
        </p:txBody>
      </p:sp>
      <p:sp>
        <p:nvSpPr>
          <p:cNvPr id="4" name="Rounded Rectangle 12">
            <a:extLst>
              <a:ext uri="{FF2B5EF4-FFF2-40B4-BE49-F238E27FC236}">
                <a16:creationId xmlns:a16="http://schemas.microsoft.com/office/drawing/2014/main" id="{B499F53E-E117-A9E7-6591-F6FAC8C3F57E}"/>
              </a:ext>
            </a:extLst>
          </p:cNvPr>
          <p:cNvSpPr/>
          <p:nvPr/>
        </p:nvSpPr>
        <p:spPr>
          <a:xfrm>
            <a:off x="4304083" y="5470728"/>
            <a:ext cx="7665500" cy="767367"/>
          </a:xfrm>
          <a:prstGeom prst="roundRect">
            <a:avLst>
              <a:gd name="adj" fmla="val 26594"/>
            </a:avLst>
          </a:prstGeom>
          <a:solidFill>
            <a:srgbClr val="F7F6FE"/>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0640" numCol="1" spcCol="0" rtlCol="0" fromWordArt="0" anchor="t" anchorCtr="0" forceAA="0" compatLnSpc="1">
            <a:prstTxWarp prst="textNoShape">
              <a:avLst/>
            </a:prstTxWarp>
            <a:noAutofit/>
          </a:bodyPr>
          <a:lstStyle/>
          <a:p>
            <a:pPr defTabSz="698548">
              <a:defRPr/>
            </a:pPr>
            <a:r>
              <a:rPr lang="en-US">
                <a:solidFill>
                  <a:srgbClr val="080808"/>
                </a:solidFill>
                <a:cs typeface="Segoe Sans Display Semibold"/>
              </a:rPr>
              <a:t>Have you installed Copilot Studio Kit which provides additional agent inventory and other useful tools?</a:t>
            </a:r>
            <a:endParaRPr kumimoji="0" lang="en-AU" sz="1800" b="0" i="0" u="none" strike="noStrike" kern="1200" cap="none" spc="0" normalizeH="0" baseline="0" noProof="0">
              <a:ln>
                <a:noFill/>
              </a:ln>
              <a:solidFill>
                <a:srgbClr val="080808"/>
              </a:solidFill>
              <a:effectLst/>
              <a:uLnTx/>
              <a:uFillTx/>
              <a:latin typeface="Segoe UI"/>
              <a:ea typeface="+mn-ea"/>
              <a:cs typeface="Segoe Sans Display Semibold"/>
            </a:endParaRPr>
          </a:p>
        </p:txBody>
      </p:sp>
    </p:spTree>
    <p:extLst>
      <p:ext uri="{BB962C8B-B14F-4D97-AF65-F5344CB8AC3E}">
        <p14:creationId xmlns:p14="http://schemas.microsoft.com/office/powerpoint/2010/main" val="78021898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1E5EC-F38A-3F31-4522-84F9974D1BFC}"/>
              </a:ext>
            </a:extLst>
          </p:cNvPr>
          <p:cNvSpPr>
            <a:spLocks noGrp="1"/>
          </p:cNvSpPr>
          <p:nvPr>
            <p:ph type="title"/>
          </p:nvPr>
        </p:nvSpPr>
        <p:spPr>
          <a:xfrm>
            <a:off x="584200" y="2918223"/>
            <a:ext cx="9144000" cy="615553"/>
          </a:xfrm>
        </p:spPr>
        <p:txBody>
          <a:bodyPr/>
          <a:lstStyle/>
          <a:p>
            <a:r>
              <a:rPr lang="en-DE"/>
              <a:t>Thank you</a:t>
            </a:r>
          </a:p>
        </p:txBody>
      </p:sp>
    </p:spTree>
    <p:extLst>
      <p:ext uri="{BB962C8B-B14F-4D97-AF65-F5344CB8AC3E}">
        <p14:creationId xmlns:p14="http://schemas.microsoft.com/office/powerpoint/2010/main" val="385451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489CCBEA-EBB6-17C5-EE49-DE660C628902}"/>
              </a:ext>
            </a:extLst>
          </p:cNvPr>
          <p:cNvSpPr txBox="1">
            <a:spLocks/>
          </p:cNvSpPr>
          <p:nvPr/>
        </p:nvSpPr>
        <p:spPr>
          <a:xfrm>
            <a:off x="587375" y="3182779"/>
            <a:ext cx="143205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000" b="0" kern="1200" cap="none" spc="-50" baseline="0" dirty="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latin typeface="+mj-lt"/>
                <a:ea typeface="+mn-ea"/>
                <a:cs typeface="Segoe UI" pitchFamily="34" charset="0"/>
              </a:defRPr>
            </a:lvl1pPr>
          </a:lstStyle>
          <a:p>
            <a:r>
              <a:rPr lang="en-AU" sz="2800">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Segoe Sans Display Semibold" pitchFamily="2" charset="0"/>
                <a:cs typeface="Segoe Sans Display Semibold" pitchFamily="2" charset="0"/>
              </a:rPr>
              <a:t>Agenda</a:t>
            </a:r>
          </a:p>
        </p:txBody>
      </p:sp>
      <p:sp>
        <p:nvSpPr>
          <p:cNvPr id="13" name="Holder 4">
            <a:extLst>
              <a:ext uri="{FF2B5EF4-FFF2-40B4-BE49-F238E27FC236}">
                <a16:creationId xmlns:a16="http://schemas.microsoft.com/office/drawing/2014/main" id="{891258D3-8609-2EA6-07C9-E5B62FBD1857}"/>
              </a:ext>
            </a:extLst>
          </p:cNvPr>
          <p:cNvSpPr>
            <a:spLocks noGrp="1"/>
          </p:cNvSpPr>
          <p:nvPr>
            <p:ph type="sldNum" sz="quarter" idx="4"/>
          </p:nvPr>
        </p:nvSpPr>
        <p:spPr>
          <a:xfrm>
            <a:off x="11738235" y="6578957"/>
            <a:ext cx="247650" cy="123111"/>
          </a:xfrm>
        </p:spPr>
        <p:txBody>
          <a:bodyPr lIns="0" tIns="0" rIns="0" bIns="0"/>
          <a:lstStyle>
            <a:lvl1pPr>
              <a:defRPr sz="667" b="0" i="0">
                <a:solidFill>
                  <a:srgbClr val="091F2C"/>
                </a:solidFill>
                <a:latin typeface="Segoe Sans Text" pitchFamily="2" charset="0"/>
                <a:cs typeface="Segoe Sans Text"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1D60167-4931-47E6-BA6A-407CBD079E47}" type="slidenum">
              <a:rPr kumimoji="0" lang="uk-UA" sz="667" b="0" i="0" u="none" strike="noStrike" kern="1200" cap="none" spc="0" normalizeH="0" baseline="0" noProof="0" smtClean="0">
                <a:ln>
                  <a:noFill/>
                </a:ln>
                <a:solidFill>
                  <a:srgbClr val="091F2C"/>
                </a:solidFill>
                <a:effectLst/>
                <a:uLnTx/>
                <a:uFillTx/>
                <a:latin typeface="Segoe Sans Text" pitchFamily="2" charset="0"/>
                <a:ea typeface="+mn-ea"/>
                <a:cs typeface="Segoe Sans Text"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uk-UA" sz="667" b="0" i="0" u="none" strike="noStrike" kern="1200" cap="none" spc="0" normalizeH="0" baseline="0" noProof="0">
              <a:ln>
                <a:noFill/>
              </a:ln>
              <a:solidFill>
                <a:srgbClr val="091F2C"/>
              </a:solidFill>
              <a:effectLst/>
              <a:uLnTx/>
              <a:uFillTx/>
              <a:latin typeface="Segoe Sans Text" pitchFamily="2" charset="0"/>
              <a:ea typeface="+mn-ea"/>
              <a:cs typeface="Segoe Sans Text" pitchFamily="2" charset="0"/>
            </a:endParaRPr>
          </a:p>
        </p:txBody>
      </p:sp>
      <p:sp>
        <p:nvSpPr>
          <p:cNvPr id="17" name="Graphic 52">
            <a:extLst>
              <a:ext uri="{FF2B5EF4-FFF2-40B4-BE49-F238E27FC236}">
                <a16:creationId xmlns:a16="http://schemas.microsoft.com/office/drawing/2014/main" id="{59F9DE57-5671-CE12-40E7-3B88BEDAE544}"/>
              </a:ext>
              <a:ext uri="{C183D7F6-B498-43B3-948B-1728B52AA6E4}">
                <adec:decorative xmlns:adec="http://schemas.microsoft.com/office/drawing/2017/decorative" val="1"/>
              </a:ext>
            </a:extLst>
          </p:cNvPr>
          <p:cNvSpPr/>
          <p:nvPr/>
        </p:nvSpPr>
        <p:spPr>
          <a:xfrm>
            <a:off x="15746051" y="-1096891"/>
            <a:ext cx="339804" cy="339996"/>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 name="Rectangle: Rounded Corners 4">
            <a:extLst>
              <a:ext uri="{FF2B5EF4-FFF2-40B4-BE49-F238E27FC236}">
                <a16:creationId xmlns:a16="http://schemas.microsoft.com/office/drawing/2014/main" id="{977E2436-7695-177D-7710-8F4C1427518C}"/>
              </a:ext>
              <a:ext uri="{C183D7F6-B498-43B3-948B-1728B52AA6E4}">
                <adec:decorative xmlns:adec="http://schemas.microsoft.com/office/drawing/2017/decorative" val="1"/>
              </a:ext>
            </a:extLst>
          </p:cNvPr>
          <p:cNvSpPr>
            <a:spLocks/>
          </p:cNvSpPr>
          <p:nvPr/>
        </p:nvSpPr>
        <p:spPr bwMode="auto">
          <a:xfrm>
            <a:off x="2242765" y="808068"/>
            <a:ext cx="8773885" cy="5411978"/>
          </a:xfrm>
          <a:prstGeom prst="roundRect">
            <a:avLst>
              <a:gd name="adj" fmla="val 473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10" name="Freeform: Shape 30">
            <a:extLst>
              <a:ext uri="{FF2B5EF4-FFF2-40B4-BE49-F238E27FC236}">
                <a16:creationId xmlns:a16="http://schemas.microsoft.com/office/drawing/2014/main" id="{76D4E23A-E283-E2DC-AB72-438133377246}"/>
              </a:ext>
              <a:ext uri="{C183D7F6-B498-43B3-948B-1728B52AA6E4}">
                <adec:decorative xmlns:adec="http://schemas.microsoft.com/office/drawing/2017/decorative" val="0"/>
              </a:ext>
            </a:extLst>
          </p:cNvPr>
          <p:cNvSpPr>
            <a:spLocks/>
          </p:cNvSpPr>
          <p:nvPr/>
        </p:nvSpPr>
        <p:spPr bwMode="auto">
          <a:xfrm>
            <a:off x="3496593" y="5447664"/>
            <a:ext cx="7381828" cy="30937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3175">
                  <a:noFill/>
                </a:ln>
                <a:solidFill>
                  <a:srgbClr val="000000"/>
                </a:solidFill>
                <a:effectLst/>
                <a:uLnTx/>
                <a:uFillTx/>
                <a:ea typeface="+mn-ea"/>
                <a:cs typeface="+mn-cs"/>
              </a:rPr>
              <a:t>Monitoring &amp; Reporting</a:t>
            </a:r>
          </a:p>
        </p:txBody>
      </p:sp>
      <p:grpSp>
        <p:nvGrpSpPr>
          <p:cNvPr id="43" name="Group 42">
            <a:extLst>
              <a:ext uri="{FF2B5EF4-FFF2-40B4-BE49-F238E27FC236}">
                <a16:creationId xmlns:a16="http://schemas.microsoft.com/office/drawing/2014/main" id="{53E9A6D4-E000-F322-9546-B2EA5D165B97}"/>
              </a:ext>
            </a:extLst>
          </p:cNvPr>
          <p:cNvGrpSpPr/>
          <p:nvPr/>
        </p:nvGrpSpPr>
        <p:grpSpPr>
          <a:xfrm>
            <a:off x="2725365" y="4182599"/>
            <a:ext cx="641898" cy="692137"/>
            <a:chOff x="2597256" y="2703410"/>
            <a:chExt cx="693901" cy="688568"/>
          </a:xfrm>
        </p:grpSpPr>
        <p:sp>
          <p:nvSpPr>
            <p:cNvPr id="38" name="Freeform: Shape 33">
              <a:extLst>
                <a:ext uri="{FF2B5EF4-FFF2-40B4-BE49-F238E27FC236}">
                  <a16:creationId xmlns:a16="http://schemas.microsoft.com/office/drawing/2014/main" id="{735C64B3-4F8C-6B70-D5F7-25D24127F023}"/>
                </a:ext>
                <a:ext uri="{C183D7F6-B498-43B3-948B-1728B52AA6E4}">
                  <adec:decorative xmlns:adec="http://schemas.microsoft.com/office/drawing/2017/decorative" val="1"/>
                </a:ext>
              </a:extLst>
            </p:cNvPr>
            <p:cNvSpPr>
              <a:spLocks/>
            </p:cNvSpPr>
            <p:nvPr/>
          </p:nvSpPr>
          <p:spPr bwMode="auto">
            <a:xfrm>
              <a:off x="2597256" y="2703410"/>
              <a:ext cx="693901" cy="68856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5" name="Graphic 34" descr="Icon of a shield with a checkmark">
              <a:extLst>
                <a:ext uri="{FF2B5EF4-FFF2-40B4-BE49-F238E27FC236}">
                  <a16:creationId xmlns:a16="http://schemas.microsoft.com/office/drawing/2014/main" id="{5D20EB3B-921A-B41E-5801-8FC992385537}"/>
                </a:ext>
              </a:extLst>
            </p:cNvPr>
            <p:cNvSpPr>
              <a:spLocks/>
            </p:cNvSpPr>
            <p:nvPr/>
          </p:nvSpPr>
          <p:spPr>
            <a:xfrm>
              <a:off x="2777490" y="2868872"/>
              <a:ext cx="344627" cy="353553"/>
            </a:xfrm>
            <a:custGeom>
              <a:avLst/>
              <a:gdLst>
                <a:gd name="connsiteX0" fmla="*/ 164306 w 171450"/>
                <a:gd name="connsiteY0" fmla="*/ 28575 h 190501"/>
                <a:gd name="connsiteX1" fmla="*/ 90011 w 171450"/>
                <a:gd name="connsiteY1" fmla="*/ 1429 h 190501"/>
                <a:gd name="connsiteX2" fmla="*/ 81439 w 171450"/>
                <a:gd name="connsiteY2" fmla="*/ 1429 h 190501"/>
                <a:gd name="connsiteX3" fmla="*/ 7144 w 171450"/>
                <a:gd name="connsiteY3" fmla="*/ 28575 h 190501"/>
                <a:gd name="connsiteX4" fmla="*/ 0 w 171450"/>
                <a:gd name="connsiteY4" fmla="*/ 35719 h 190501"/>
                <a:gd name="connsiteX5" fmla="*/ 0 w 171450"/>
                <a:gd name="connsiteY5" fmla="*/ 85725 h 190501"/>
                <a:gd name="connsiteX6" fmla="*/ 83106 w 171450"/>
                <a:gd name="connsiteY6" fmla="*/ 190005 h 190501"/>
                <a:gd name="connsiteX7" fmla="*/ 88344 w 171450"/>
                <a:gd name="connsiteY7" fmla="*/ 190005 h 190501"/>
                <a:gd name="connsiteX8" fmla="*/ 171450 w 171450"/>
                <a:gd name="connsiteY8" fmla="*/ 85725 h 190501"/>
                <a:gd name="connsiteX9" fmla="*/ 171450 w 171450"/>
                <a:gd name="connsiteY9" fmla="*/ 35719 h 190501"/>
                <a:gd name="connsiteX10" fmla="*/ 164306 w 171450"/>
                <a:gd name="connsiteY10" fmla="*/ 28575 h 190501"/>
                <a:gd name="connsiteX11" fmla="*/ 131035 w 171450"/>
                <a:gd name="connsiteY11" fmla="*/ 69561 h 190501"/>
                <a:gd name="connsiteX12" fmla="*/ 73885 w 171450"/>
                <a:gd name="connsiteY12" fmla="*/ 121949 h 190501"/>
                <a:gd name="connsiteX13" fmla="*/ 64008 w 171450"/>
                <a:gd name="connsiteY13" fmla="*/ 121730 h 190501"/>
                <a:gd name="connsiteX14" fmla="*/ 40195 w 171450"/>
                <a:gd name="connsiteY14" fmla="*/ 97917 h 190501"/>
                <a:gd name="connsiteX15" fmla="*/ 39839 w 171450"/>
                <a:gd name="connsiteY15" fmla="*/ 87821 h 190501"/>
                <a:gd name="connsiteX16" fmla="*/ 49936 w 171450"/>
                <a:gd name="connsiteY16" fmla="*/ 87464 h 190501"/>
                <a:gd name="connsiteX17" fmla="*/ 50292 w 171450"/>
                <a:gd name="connsiteY17" fmla="*/ 87821 h 190501"/>
                <a:gd name="connsiteX18" fmla="*/ 69275 w 171450"/>
                <a:gd name="connsiteY18" fmla="*/ 106794 h 190501"/>
                <a:gd name="connsiteX19" fmla="*/ 121377 w 171450"/>
                <a:gd name="connsiteY19" fmla="*/ 59026 h 190501"/>
                <a:gd name="connsiteX20" fmla="*/ 131474 w 171450"/>
                <a:gd name="connsiteY20" fmla="*/ 59465 h 190501"/>
                <a:gd name="connsiteX21" fmla="*/ 131035 w 171450"/>
                <a:gd name="connsiteY21" fmla="*/ 69561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50" h="190501">
                  <a:moveTo>
                    <a:pt x="164306" y="28575"/>
                  </a:moveTo>
                  <a:cubicBezTo>
                    <a:pt x="138941" y="28575"/>
                    <a:pt x="114224" y="19593"/>
                    <a:pt x="90011" y="1429"/>
                  </a:cubicBezTo>
                  <a:cubicBezTo>
                    <a:pt x="87471" y="-476"/>
                    <a:pt x="83979" y="-476"/>
                    <a:pt x="81439" y="1429"/>
                  </a:cubicBezTo>
                  <a:cubicBezTo>
                    <a:pt x="57226" y="19593"/>
                    <a:pt x="32509" y="28575"/>
                    <a:pt x="7144" y="28575"/>
                  </a:cubicBezTo>
                  <a:cubicBezTo>
                    <a:pt x="3198" y="28575"/>
                    <a:pt x="0" y="31773"/>
                    <a:pt x="0" y="35719"/>
                  </a:cubicBezTo>
                  <a:lnTo>
                    <a:pt x="0" y="85725"/>
                  </a:lnTo>
                  <a:cubicBezTo>
                    <a:pt x="0" y="133360"/>
                    <a:pt x="28175" y="168364"/>
                    <a:pt x="83106" y="190005"/>
                  </a:cubicBezTo>
                  <a:cubicBezTo>
                    <a:pt x="84789" y="190668"/>
                    <a:pt x="86661" y="190668"/>
                    <a:pt x="88344" y="190005"/>
                  </a:cubicBezTo>
                  <a:cubicBezTo>
                    <a:pt x="143275" y="168364"/>
                    <a:pt x="171450" y="133350"/>
                    <a:pt x="171450" y="85725"/>
                  </a:cubicBezTo>
                  <a:lnTo>
                    <a:pt x="171450" y="35719"/>
                  </a:lnTo>
                  <a:cubicBezTo>
                    <a:pt x="171450" y="31773"/>
                    <a:pt x="168252" y="28575"/>
                    <a:pt x="164306" y="28575"/>
                  </a:cubicBezTo>
                  <a:close/>
                  <a:moveTo>
                    <a:pt x="131035" y="69561"/>
                  </a:moveTo>
                  <a:lnTo>
                    <a:pt x="73885" y="121949"/>
                  </a:lnTo>
                  <a:cubicBezTo>
                    <a:pt x="71065" y="124531"/>
                    <a:pt x="66711" y="124435"/>
                    <a:pt x="64008" y="121730"/>
                  </a:cubicBezTo>
                  <a:lnTo>
                    <a:pt x="40195" y="97917"/>
                  </a:lnTo>
                  <a:cubicBezTo>
                    <a:pt x="37309" y="95227"/>
                    <a:pt x="37149" y="90707"/>
                    <a:pt x="39839" y="87821"/>
                  </a:cubicBezTo>
                  <a:cubicBezTo>
                    <a:pt x="42529" y="84934"/>
                    <a:pt x="47049" y="84774"/>
                    <a:pt x="49936" y="87464"/>
                  </a:cubicBezTo>
                  <a:cubicBezTo>
                    <a:pt x="50059" y="87579"/>
                    <a:pt x="50177" y="87698"/>
                    <a:pt x="50292" y="87821"/>
                  </a:cubicBezTo>
                  <a:lnTo>
                    <a:pt x="69275" y="106794"/>
                  </a:lnTo>
                  <a:lnTo>
                    <a:pt x="121377" y="59026"/>
                  </a:lnTo>
                  <a:cubicBezTo>
                    <a:pt x="124286" y="56359"/>
                    <a:pt x="128807" y="56556"/>
                    <a:pt x="131474" y="59465"/>
                  </a:cubicBezTo>
                  <a:cubicBezTo>
                    <a:pt x="134141" y="62374"/>
                    <a:pt x="133944" y="66894"/>
                    <a:pt x="131035" y="6956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57" name="Group 56">
            <a:extLst>
              <a:ext uri="{FF2B5EF4-FFF2-40B4-BE49-F238E27FC236}">
                <a16:creationId xmlns:a16="http://schemas.microsoft.com/office/drawing/2014/main" id="{A64D4AEA-B3E6-4463-D5FB-7F2507DEF66B}"/>
              </a:ext>
            </a:extLst>
          </p:cNvPr>
          <p:cNvGrpSpPr/>
          <p:nvPr/>
        </p:nvGrpSpPr>
        <p:grpSpPr>
          <a:xfrm>
            <a:off x="2711720" y="1175184"/>
            <a:ext cx="8173515" cy="692137"/>
            <a:chOff x="2626839" y="1007065"/>
            <a:chExt cx="8835694" cy="688568"/>
          </a:xfrm>
        </p:grpSpPr>
        <p:sp>
          <p:nvSpPr>
            <p:cNvPr id="8" name="Rectangle 7">
              <a:extLst>
                <a:ext uri="{FF2B5EF4-FFF2-40B4-BE49-F238E27FC236}">
                  <a16:creationId xmlns:a16="http://schemas.microsoft.com/office/drawing/2014/main" id="{D6CBA791-0276-B7DA-8132-1FA895801F5B}"/>
                </a:ext>
                <a:ext uri="{C183D7F6-B498-43B3-948B-1728B52AA6E4}">
                  <adec:decorative xmlns:adec="http://schemas.microsoft.com/office/drawing/2017/decorative" val="0"/>
                </a:ext>
              </a:extLst>
            </p:cNvPr>
            <p:cNvSpPr>
              <a:spLocks/>
            </p:cNvSpPr>
            <p:nvPr/>
          </p:nvSpPr>
          <p:spPr bwMode="auto">
            <a:xfrm>
              <a:off x="3482665" y="1228366"/>
              <a:ext cx="7979868" cy="30777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w="3175">
                    <a:noFill/>
                  </a:ln>
                  <a:solidFill>
                    <a:srgbClr val="000000"/>
                  </a:solidFill>
                  <a:effectLst/>
                  <a:uLnTx/>
                  <a:uFillTx/>
                  <a:ea typeface="+mn-ea"/>
                  <a:cs typeface="+mn-cs"/>
                </a:rPr>
                <a:t>Bookings Overview</a:t>
              </a:r>
            </a:p>
          </p:txBody>
        </p:sp>
        <p:grpSp>
          <p:nvGrpSpPr>
            <p:cNvPr id="42" name="Group 41">
              <a:extLst>
                <a:ext uri="{FF2B5EF4-FFF2-40B4-BE49-F238E27FC236}">
                  <a16:creationId xmlns:a16="http://schemas.microsoft.com/office/drawing/2014/main" id="{D63B0D61-37F9-B98D-9753-6E152407B5FA}"/>
                </a:ext>
              </a:extLst>
            </p:cNvPr>
            <p:cNvGrpSpPr/>
            <p:nvPr/>
          </p:nvGrpSpPr>
          <p:grpSpPr>
            <a:xfrm>
              <a:off x="2626839" y="1007065"/>
              <a:ext cx="693902" cy="688568"/>
              <a:chOff x="2626839" y="1007065"/>
              <a:chExt cx="693902" cy="688568"/>
            </a:xfrm>
          </p:grpSpPr>
          <p:sp>
            <p:nvSpPr>
              <p:cNvPr id="36" name="Freeform: Shape 33">
                <a:extLst>
                  <a:ext uri="{FF2B5EF4-FFF2-40B4-BE49-F238E27FC236}">
                    <a16:creationId xmlns:a16="http://schemas.microsoft.com/office/drawing/2014/main" id="{B9EFB3E8-031A-FA06-3018-D0CCA6F08F7A}"/>
                  </a:ext>
                  <a:ext uri="{C183D7F6-B498-43B3-948B-1728B52AA6E4}">
                    <adec:decorative xmlns:adec="http://schemas.microsoft.com/office/drawing/2017/decorative" val="1"/>
                  </a:ext>
                </a:extLst>
              </p:cNvPr>
              <p:cNvSpPr>
                <a:spLocks/>
              </p:cNvSpPr>
              <p:nvPr/>
            </p:nvSpPr>
            <p:spPr bwMode="auto">
              <a:xfrm>
                <a:off x="2626839" y="1007065"/>
                <a:ext cx="693902" cy="68856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8" name="Graphic 127" descr="Icon of a bulb">
                <a:extLst>
                  <a:ext uri="{FF2B5EF4-FFF2-40B4-BE49-F238E27FC236}">
                    <a16:creationId xmlns:a16="http://schemas.microsoft.com/office/drawing/2014/main" id="{A85310DC-B9E7-730D-B053-2741191B5AA8}"/>
                  </a:ext>
                </a:extLst>
              </p:cNvPr>
              <p:cNvSpPr>
                <a:spLocks/>
              </p:cNvSpPr>
              <p:nvPr/>
            </p:nvSpPr>
            <p:spPr>
              <a:xfrm>
                <a:off x="2814449" y="1179574"/>
                <a:ext cx="333415" cy="405362"/>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32042 w 138112"/>
                  <a:gd name="connsiteY14" fmla="*/ 147618 h 190490"/>
                  <a:gd name="connsiteX15" fmla="*/ 27032 w 138112"/>
                  <a:gd name="connsiteY15" fmla="*/ 125873 h 190490"/>
                  <a:gd name="connsiteX16" fmla="*/ 26356 w 138112"/>
                  <a:gd name="connsiteY16" fmla="*/ 124692 h 190490"/>
                  <a:gd name="connsiteX17" fmla="*/ 0 w 138112"/>
                  <a:gd name="connsiteY17" fmla="*/ 69047 h 190490"/>
                  <a:gd name="connsiteX18" fmla="*/ 69056 w 138112"/>
                  <a:gd name="connsiteY18"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32042" y="147618"/>
                    </a:lnTo>
                    <a:lnTo>
                      <a:pt x="27032" y="125873"/>
                    </a:lnTo>
                    <a:cubicBezTo>
                      <a:pt x="26926" y="125421"/>
                      <a:pt x="26691" y="125011"/>
                      <a:pt x="26356" y="124692"/>
                    </a:cubicBezTo>
                    <a:cubicBezTo>
                      <a:pt x="8925" y="108042"/>
                      <a:pt x="0" y="89402"/>
                      <a:pt x="0" y="69047"/>
                    </a:cubicBezTo>
                    <a:cubicBezTo>
                      <a:pt x="5" y="30912"/>
                      <a:pt x="30921" y="0"/>
                      <a:pt x="69056"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sp>
        <p:nvSpPr>
          <p:cNvPr id="40" name="Freeform: Shape 33">
            <a:extLst>
              <a:ext uri="{FF2B5EF4-FFF2-40B4-BE49-F238E27FC236}">
                <a16:creationId xmlns:a16="http://schemas.microsoft.com/office/drawing/2014/main" id="{C7475DB6-BFD0-386F-1C27-9F6C4E061173}"/>
              </a:ext>
              <a:ext uri="{C183D7F6-B498-43B3-948B-1728B52AA6E4}">
                <adec:decorative xmlns:adec="http://schemas.microsoft.com/office/drawing/2017/decorative" val="1"/>
              </a:ext>
            </a:extLst>
          </p:cNvPr>
          <p:cNvSpPr>
            <a:spLocks/>
          </p:cNvSpPr>
          <p:nvPr/>
        </p:nvSpPr>
        <p:spPr bwMode="auto">
          <a:xfrm>
            <a:off x="2725364" y="5258340"/>
            <a:ext cx="641898" cy="692137"/>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27" name="Freeform: Shape 31">
            <a:extLst>
              <a:ext uri="{FF2B5EF4-FFF2-40B4-BE49-F238E27FC236}">
                <a16:creationId xmlns:a16="http://schemas.microsoft.com/office/drawing/2014/main" id="{67CC343B-3128-1596-9CF2-6E9B4049553C}"/>
              </a:ext>
              <a:ext uri="{C183D7F6-B498-43B3-948B-1728B52AA6E4}">
                <adec:decorative xmlns:adec="http://schemas.microsoft.com/office/drawing/2017/decorative" val="0"/>
              </a:ext>
            </a:extLst>
          </p:cNvPr>
          <p:cNvSpPr>
            <a:spLocks/>
          </p:cNvSpPr>
          <p:nvPr/>
        </p:nvSpPr>
        <p:spPr bwMode="auto">
          <a:xfrm>
            <a:off x="3503407" y="4356542"/>
            <a:ext cx="7381828" cy="30937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w="3175">
                  <a:noFill/>
                </a:ln>
                <a:solidFill>
                  <a:srgbClr val="000000"/>
                </a:solidFill>
                <a:effectLst/>
                <a:uLnTx/>
                <a:uFillTx/>
                <a:ea typeface="+mn-ea"/>
                <a:cs typeface="+mn-cs"/>
              </a:rPr>
              <a:t>Troubleshooting</a:t>
            </a:r>
          </a:p>
        </p:txBody>
      </p:sp>
      <p:sp>
        <p:nvSpPr>
          <p:cNvPr id="37" name="Freeform: Shape 33">
            <a:extLst>
              <a:ext uri="{FF2B5EF4-FFF2-40B4-BE49-F238E27FC236}">
                <a16:creationId xmlns:a16="http://schemas.microsoft.com/office/drawing/2014/main" id="{59C1FAED-4113-DD46-BE1D-44F62F28976A}"/>
              </a:ext>
              <a:ext uri="{C183D7F6-B498-43B3-948B-1728B52AA6E4}">
                <adec:decorative xmlns:adec="http://schemas.microsoft.com/office/drawing/2017/decorative" val="1"/>
              </a:ext>
            </a:extLst>
          </p:cNvPr>
          <p:cNvSpPr>
            <a:spLocks/>
          </p:cNvSpPr>
          <p:nvPr/>
        </p:nvSpPr>
        <p:spPr bwMode="auto">
          <a:xfrm>
            <a:off x="2725364" y="3117109"/>
            <a:ext cx="641898" cy="692137"/>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9" name="Freeform: Shape 30">
            <a:extLst>
              <a:ext uri="{FF2B5EF4-FFF2-40B4-BE49-F238E27FC236}">
                <a16:creationId xmlns:a16="http://schemas.microsoft.com/office/drawing/2014/main" id="{7863CB6C-5BDD-045E-309A-890F13763024}"/>
              </a:ext>
              <a:ext uri="{C183D7F6-B498-43B3-948B-1728B52AA6E4}">
                <adec:decorative xmlns:adec="http://schemas.microsoft.com/office/drawing/2017/decorative" val="0"/>
              </a:ext>
            </a:extLst>
          </p:cNvPr>
          <p:cNvSpPr>
            <a:spLocks/>
          </p:cNvSpPr>
          <p:nvPr/>
        </p:nvSpPr>
        <p:spPr bwMode="auto">
          <a:xfrm>
            <a:off x="3515107" y="3353073"/>
            <a:ext cx="7381828" cy="30937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742" fontAlgn="base">
              <a:spcBef>
                <a:spcPct val="0"/>
              </a:spcBef>
              <a:spcAft>
                <a:spcPct val="0"/>
              </a:spcAft>
            </a:pPr>
            <a:r>
              <a:rPr lang="en-US" sz="2000" kern="0" dirty="0">
                <a:ln w="3175">
                  <a:noFill/>
                </a:ln>
                <a:solidFill>
                  <a:srgbClr val="000000"/>
                </a:solidFill>
              </a:rPr>
              <a:t>Behind the Scenes</a:t>
            </a:r>
          </a:p>
        </p:txBody>
      </p:sp>
      <p:cxnSp>
        <p:nvCxnSpPr>
          <p:cNvPr id="56" name="Straight Connector 55">
            <a:extLst>
              <a:ext uri="{FF2B5EF4-FFF2-40B4-BE49-F238E27FC236}">
                <a16:creationId xmlns:a16="http://schemas.microsoft.com/office/drawing/2014/main" id="{E1ED6D36-F082-E34D-6A34-B1A60D4CB055}"/>
              </a:ext>
              <a:ext uri="{C183D7F6-B498-43B3-948B-1728B52AA6E4}">
                <adec:decorative xmlns:adec="http://schemas.microsoft.com/office/drawing/2017/decorative" val="1"/>
              </a:ext>
            </a:extLst>
          </p:cNvPr>
          <p:cNvCxnSpPr>
            <a:cxnSpLocks/>
          </p:cNvCxnSpPr>
          <p:nvPr/>
        </p:nvCxnSpPr>
        <p:spPr>
          <a:xfrm>
            <a:off x="3540869" y="2951623"/>
            <a:ext cx="7041416"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CC430A-86D8-FB34-8286-9B2FA715529D}"/>
              </a:ext>
              <a:ext uri="{C183D7F6-B498-43B3-948B-1728B52AA6E4}">
                <adec:decorative xmlns:adec="http://schemas.microsoft.com/office/drawing/2017/decorative" val="1"/>
              </a:ext>
            </a:extLst>
          </p:cNvPr>
          <p:cNvCxnSpPr>
            <a:cxnSpLocks/>
          </p:cNvCxnSpPr>
          <p:nvPr/>
        </p:nvCxnSpPr>
        <p:spPr>
          <a:xfrm>
            <a:off x="3532770" y="3958090"/>
            <a:ext cx="7005239" cy="73223"/>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5E7E64D-BFE9-7FA8-E010-58853CA9FC8C}"/>
              </a:ext>
              <a:ext uri="{C183D7F6-B498-43B3-948B-1728B52AA6E4}">
                <adec:decorative xmlns:adec="http://schemas.microsoft.com/office/drawing/2017/decorative" val="1"/>
              </a:ext>
            </a:extLst>
          </p:cNvPr>
          <p:cNvCxnSpPr>
            <a:cxnSpLocks/>
          </p:cNvCxnSpPr>
          <p:nvPr/>
        </p:nvCxnSpPr>
        <p:spPr>
          <a:xfrm>
            <a:off x="3452317" y="4991416"/>
            <a:ext cx="7085692"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Freeform: Shape 70">
            <a:extLst>
              <a:ext uri="{FF2B5EF4-FFF2-40B4-BE49-F238E27FC236}">
                <a16:creationId xmlns:a16="http://schemas.microsoft.com/office/drawing/2014/main" id="{21BFF126-D017-41FF-0F3E-1060A74E23C9}"/>
              </a:ext>
            </a:extLst>
          </p:cNvPr>
          <p:cNvSpPr/>
          <p:nvPr/>
        </p:nvSpPr>
        <p:spPr>
          <a:xfrm>
            <a:off x="2943542" y="5492429"/>
            <a:ext cx="294184" cy="236426"/>
          </a:xfrm>
          <a:custGeom>
            <a:avLst/>
            <a:gdLst>
              <a:gd name="connsiteX0" fmla="*/ 253529 w 268442"/>
              <a:gd name="connsiteY0" fmla="*/ 0 h 186604"/>
              <a:gd name="connsiteX1" fmla="*/ 14913 w 268442"/>
              <a:gd name="connsiteY1" fmla="*/ 0 h 186604"/>
              <a:gd name="connsiteX2" fmla="*/ 0 w 268442"/>
              <a:gd name="connsiteY2" fmla="*/ 14928 h 186604"/>
              <a:gd name="connsiteX3" fmla="*/ 0 w 268442"/>
              <a:gd name="connsiteY3" fmla="*/ 69044 h 186604"/>
              <a:gd name="connsiteX4" fmla="*/ 13422 w 268442"/>
              <a:gd name="connsiteY4" fmla="*/ 67178 h 186604"/>
              <a:gd name="connsiteX5" fmla="*/ 22370 w 268442"/>
              <a:gd name="connsiteY5" fmla="*/ 67924 h 186604"/>
              <a:gd name="connsiteX6" fmla="*/ 22370 w 268442"/>
              <a:gd name="connsiteY6" fmla="*/ 22393 h 186604"/>
              <a:gd name="connsiteX7" fmla="*/ 246072 w 268442"/>
              <a:gd name="connsiteY7" fmla="*/ 22393 h 186604"/>
              <a:gd name="connsiteX8" fmla="*/ 246072 w 268442"/>
              <a:gd name="connsiteY8" fmla="*/ 164212 h 186604"/>
              <a:gd name="connsiteX9" fmla="*/ 119681 w 268442"/>
              <a:gd name="connsiteY9" fmla="*/ 164212 h 186604"/>
              <a:gd name="connsiteX10" fmla="*/ 98429 w 268442"/>
              <a:gd name="connsiteY10" fmla="*/ 186604 h 186604"/>
              <a:gd name="connsiteX11" fmla="*/ 253529 w 268442"/>
              <a:gd name="connsiteY11" fmla="*/ 186604 h 186604"/>
              <a:gd name="connsiteX12" fmla="*/ 268442 w 268442"/>
              <a:gd name="connsiteY12" fmla="*/ 171676 h 186604"/>
              <a:gd name="connsiteX13" fmla="*/ 268442 w 268442"/>
              <a:gd name="connsiteY13" fmla="*/ 14928 h 186604"/>
              <a:gd name="connsiteX14" fmla="*/ 253529 w 268442"/>
              <a:gd name="connsiteY14" fmla="*/ 0 h 18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8442" h="186604">
                <a:moveTo>
                  <a:pt x="253529" y="0"/>
                </a:moveTo>
                <a:lnTo>
                  <a:pt x="14913" y="0"/>
                </a:lnTo>
                <a:cubicBezTo>
                  <a:pt x="6711" y="0"/>
                  <a:pt x="0" y="6718"/>
                  <a:pt x="0" y="14928"/>
                </a:cubicBezTo>
                <a:lnTo>
                  <a:pt x="0" y="69044"/>
                </a:lnTo>
                <a:cubicBezTo>
                  <a:pt x="4101" y="67924"/>
                  <a:pt x="8948" y="67178"/>
                  <a:pt x="13422" y="67178"/>
                </a:cubicBezTo>
                <a:cubicBezTo>
                  <a:pt x="16405" y="67178"/>
                  <a:pt x="19387" y="67551"/>
                  <a:pt x="22370" y="67924"/>
                </a:cubicBezTo>
                <a:lnTo>
                  <a:pt x="22370" y="22393"/>
                </a:lnTo>
                <a:lnTo>
                  <a:pt x="246072" y="22393"/>
                </a:lnTo>
                <a:lnTo>
                  <a:pt x="246072" y="164212"/>
                </a:lnTo>
                <a:lnTo>
                  <a:pt x="119681" y="164212"/>
                </a:lnTo>
                <a:lnTo>
                  <a:pt x="98429" y="186604"/>
                </a:lnTo>
                <a:lnTo>
                  <a:pt x="253529" y="186604"/>
                </a:lnTo>
                <a:cubicBezTo>
                  <a:pt x="261731" y="186604"/>
                  <a:pt x="268442" y="179886"/>
                  <a:pt x="268442" y="171676"/>
                </a:cubicBezTo>
                <a:lnTo>
                  <a:pt x="268442" y="14928"/>
                </a:lnTo>
                <a:cubicBezTo>
                  <a:pt x="268442" y="6718"/>
                  <a:pt x="261731" y="0"/>
                  <a:pt x="253529" y="0"/>
                </a:cubicBezTo>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AU" sz="2000" b="1" kern="0">
              <a:solidFill>
                <a:srgbClr val="FFFFFF"/>
              </a:solidFill>
              <a:latin typeface="Segoe UI Semibold" panose="020B0502040204020203" pitchFamily="34" charset="0"/>
              <a:cs typeface="Segoe UI Semibold" panose="020B0502040204020203" pitchFamily="34" charset="0"/>
            </a:endParaRPr>
          </a:p>
        </p:txBody>
      </p:sp>
      <p:sp>
        <p:nvSpPr>
          <p:cNvPr id="72" name="Freeform: Shape 71">
            <a:extLst>
              <a:ext uri="{FF2B5EF4-FFF2-40B4-BE49-F238E27FC236}">
                <a16:creationId xmlns:a16="http://schemas.microsoft.com/office/drawing/2014/main" id="{BC0AE235-868C-136E-8F12-DF3860A0BD91}"/>
              </a:ext>
            </a:extLst>
          </p:cNvPr>
          <p:cNvSpPr/>
          <p:nvPr/>
        </p:nvSpPr>
        <p:spPr>
          <a:xfrm>
            <a:off x="2879803" y="5620835"/>
            <a:ext cx="215101" cy="145847"/>
          </a:xfrm>
          <a:custGeom>
            <a:avLst/>
            <a:gdLst>
              <a:gd name="connsiteX0" fmla="*/ 193875 w 196279"/>
              <a:gd name="connsiteY0" fmla="*/ 7257 h 115113"/>
              <a:gd name="connsiteX1" fmla="*/ 171878 w 196279"/>
              <a:gd name="connsiteY1" fmla="*/ 2405 h 115113"/>
              <a:gd name="connsiteX2" fmla="*/ 168895 w 196279"/>
              <a:gd name="connsiteY2" fmla="*/ 5391 h 115113"/>
              <a:gd name="connsiteX3" fmla="*/ 114461 w 196279"/>
              <a:gd name="connsiteY3" fmla="*/ 62118 h 115113"/>
              <a:gd name="connsiteX4" fmla="*/ 98056 w 196279"/>
              <a:gd name="connsiteY4" fmla="*/ 55400 h 115113"/>
              <a:gd name="connsiteX5" fmla="*/ 71957 w 196279"/>
              <a:gd name="connsiteY5" fmla="*/ 52042 h 115113"/>
              <a:gd name="connsiteX6" fmla="*/ 45859 w 196279"/>
              <a:gd name="connsiteY6" fmla="*/ 56147 h 115113"/>
              <a:gd name="connsiteX7" fmla="*/ 12676 w 196279"/>
              <a:gd name="connsiteY7" fmla="*/ 73688 h 115113"/>
              <a:gd name="connsiteX8" fmla="*/ 7830 w 196279"/>
              <a:gd name="connsiteY8" fmla="*/ 82271 h 115113"/>
              <a:gd name="connsiteX9" fmla="*/ 0 w 196279"/>
              <a:gd name="connsiteY9" fmla="*/ 115114 h 115113"/>
              <a:gd name="connsiteX10" fmla="*/ 111478 w 196279"/>
              <a:gd name="connsiteY10" fmla="*/ 115114 h 115113"/>
              <a:gd name="connsiteX11" fmla="*/ 111478 w 196279"/>
              <a:gd name="connsiteY11" fmla="*/ 114741 h 115113"/>
              <a:gd name="connsiteX12" fmla="*/ 143169 w 196279"/>
              <a:gd name="connsiteY12" fmla="*/ 77793 h 115113"/>
              <a:gd name="connsiteX13" fmla="*/ 192011 w 196279"/>
              <a:gd name="connsiteY13" fmla="*/ 26290 h 115113"/>
              <a:gd name="connsiteX14" fmla="*/ 193875 w 196279"/>
              <a:gd name="connsiteY14" fmla="*/ 7257 h 11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279" h="115113">
                <a:moveTo>
                  <a:pt x="193875" y="7257"/>
                </a:moveTo>
                <a:cubicBezTo>
                  <a:pt x="189028" y="-208"/>
                  <a:pt x="179334" y="-2074"/>
                  <a:pt x="171878" y="2405"/>
                </a:cubicBezTo>
                <a:cubicBezTo>
                  <a:pt x="170386" y="3151"/>
                  <a:pt x="169641" y="4644"/>
                  <a:pt x="168895" y="5391"/>
                </a:cubicBezTo>
                <a:lnTo>
                  <a:pt x="114461" y="62118"/>
                </a:lnTo>
                <a:cubicBezTo>
                  <a:pt x="109241" y="59506"/>
                  <a:pt x="103649" y="57266"/>
                  <a:pt x="98056" y="55400"/>
                </a:cubicBezTo>
                <a:cubicBezTo>
                  <a:pt x="89481" y="53908"/>
                  <a:pt x="80533" y="52042"/>
                  <a:pt x="71957" y="52042"/>
                </a:cubicBezTo>
                <a:cubicBezTo>
                  <a:pt x="63382" y="52042"/>
                  <a:pt x="54434" y="53534"/>
                  <a:pt x="45859" y="56147"/>
                </a:cubicBezTo>
                <a:cubicBezTo>
                  <a:pt x="33182" y="59506"/>
                  <a:pt x="21997" y="65850"/>
                  <a:pt x="12676" y="73688"/>
                </a:cubicBezTo>
                <a:cubicBezTo>
                  <a:pt x="10439" y="75927"/>
                  <a:pt x="8575" y="79286"/>
                  <a:pt x="7830" y="82271"/>
                </a:cubicBezTo>
                <a:lnTo>
                  <a:pt x="0" y="115114"/>
                </a:lnTo>
                <a:lnTo>
                  <a:pt x="111478" y="115114"/>
                </a:lnTo>
                <a:lnTo>
                  <a:pt x="111478" y="114741"/>
                </a:lnTo>
                <a:lnTo>
                  <a:pt x="143169" y="77793"/>
                </a:lnTo>
                <a:lnTo>
                  <a:pt x="192011" y="26290"/>
                </a:lnTo>
                <a:cubicBezTo>
                  <a:pt x="196485" y="21812"/>
                  <a:pt x="197976" y="13228"/>
                  <a:pt x="193875" y="7257"/>
                </a:cubicBezTo>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AU" sz="2000" b="1" kern="0">
              <a:solidFill>
                <a:srgbClr val="FFFFFF"/>
              </a:solidFill>
              <a:latin typeface="Segoe UI Semibold" panose="020B0502040204020203" pitchFamily="34" charset="0"/>
              <a:cs typeface="Segoe UI Semibold" panose="020B0502040204020203" pitchFamily="34" charset="0"/>
            </a:endParaRPr>
          </a:p>
        </p:txBody>
      </p:sp>
      <p:sp>
        <p:nvSpPr>
          <p:cNvPr id="73" name="Freeform: Shape 72">
            <a:extLst>
              <a:ext uri="{FF2B5EF4-FFF2-40B4-BE49-F238E27FC236}">
                <a16:creationId xmlns:a16="http://schemas.microsoft.com/office/drawing/2014/main" id="{C995F2C5-D4BF-CDA5-10C5-854C3CEDB2EE}"/>
              </a:ext>
            </a:extLst>
          </p:cNvPr>
          <p:cNvSpPr/>
          <p:nvPr/>
        </p:nvSpPr>
        <p:spPr>
          <a:xfrm>
            <a:off x="2912310" y="5610642"/>
            <a:ext cx="75043" cy="74792"/>
          </a:xfrm>
          <a:custGeom>
            <a:avLst/>
            <a:gdLst>
              <a:gd name="connsiteX0" fmla="*/ 31698 w 63389"/>
              <a:gd name="connsiteY0" fmla="*/ 63445 h 63445"/>
              <a:gd name="connsiteX1" fmla="*/ 63389 w 63389"/>
              <a:gd name="connsiteY1" fmla="*/ 31723 h 63445"/>
              <a:gd name="connsiteX2" fmla="*/ 31698 w 63389"/>
              <a:gd name="connsiteY2" fmla="*/ 0 h 63445"/>
              <a:gd name="connsiteX3" fmla="*/ 7 w 63389"/>
              <a:gd name="connsiteY3" fmla="*/ 31723 h 63445"/>
              <a:gd name="connsiteX4" fmla="*/ 31698 w 63389"/>
              <a:gd name="connsiteY4" fmla="*/ 63445 h 63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89" h="63445">
                <a:moveTo>
                  <a:pt x="31698" y="63445"/>
                </a:moveTo>
                <a:cubicBezTo>
                  <a:pt x="49221" y="63445"/>
                  <a:pt x="63389" y="49264"/>
                  <a:pt x="63389" y="31723"/>
                </a:cubicBezTo>
                <a:cubicBezTo>
                  <a:pt x="63389" y="14182"/>
                  <a:pt x="49221" y="0"/>
                  <a:pt x="31698" y="0"/>
                </a:cubicBezTo>
                <a:cubicBezTo>
                  <a:pt x="14175" y="0"/>
                  <a:pt x="7" y="14182"/>
                  <a:pt x="7" y="31723"/>
                </a:cubicBezTo>
                <a:cubicBezTo>
                  <a:pt x="-366" y="49264"/>
                  <a:pt x="14175" y="63445"/>
                  <a:pt x="31698" y="63445"/>
                </a:cubicBezTo>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AU" sz="2000" b="1" kern="0">
              <a:solidFill>
                <a:srgbClr val="FFFFFF"/>
              </a:solidFill>
              <a:latin typeface="Segoe UI Semibold" panose="020B0502040204020203" pitchFamily="34" charset="0"/>
              <a:cs typeface="Segoe UI Semibold" panose="020B0502040204020203" pitchFamily="34" charset="0"/>
            </a:endParaRPr>
          </a:p>
        </p:txBody>
      </p:sp>
      <p:grpSp>
        <p:nvGrpSpPr>
          <p:cNvPr id="6" name="Graphic 2" descr="Checklist">
            <a:extLst>
              <a:ext uri="{FF2B5EF4-FFF2-40B4-BE49-F238E27FC236}">
                <a16:creationId xmlns:a16="http://schemas.microsoft.com/office/drawing/2014/main" id="{C0910EDC-562B-9A6C-D314-DF7C1F0EB3B2}"/>
              </a:ext>
            </a:extLst>
          </p:cNvPr>
          <p:cNvGrpSpPr/>
          <p:nvPr/>
        </p:nvGrpSpPr>
        <p:grpSpPr>
          <a:xfrm>
            <a:off x="2912310" y="3273728"/>
            <a:ext cx="298582" cy="388718"/>
            <a:chOff x="589536" y="1597935"/>
            <a:chExt cx="331548" cy="427805"/>
          </a:xfrm>
          <a:gradFill>
            <a:gsLst>
              <a:gs pos="75000">
                <a:srgbClr val="0078D4"/>
              </a:gs>
              <a:gs pos="50000">
                <a:srgbClr val="C03BC4"/>
              </a:gs>
              <a:gs pos="100000">
                <a:srgbClr val="14938C"/>
              </a:gs>
              <a:gs pos="25000">
                <a:srgbClr val="F4364C"/>
              </a:gs>
              <a:gs pos="0">
                <a:srgbClr val="FF5C39"/>
              </a:gs>
            </a:gsLst>
            <a:path path="circle">
              <a:fillToRect r="100000" b="100000"/>
            </a:path>
          </a:gradFill>
        </p:grpSpPr>
        <p:sp>
          <p:nvSpPr>
            <p:cNvPr id="11" name="Freeform: Shape 10">
              <a:extLst>
                <a:ext uri="{FF2B5EF4-FFF2-40B4-BE49-F238E27FC236}">
                  <a16:creationId xmlns:a16="http://schemas.microsoft.com/office/drawing/2014/main" id="{F21A26ED-1A2D-437A-7D35-3509E46BC739}"/>
                </a:ext>
              </a:extLst>
            </p:cNvPr>
            <p:cNvSpPr/>
            <p:nvPr/>
          </p:nvSpPr>
          <p:spPr>
            <a:xfrm>
              <a:off x="589536" y="1597935"/>
              <a:ext cx="331548" cy="427805"/>
            </a:xfrm>
            <a:custGeom>
              <a:avLst/>
              <a:gdLst>
                <a:gd name="connsiteX0" fmla="*/ 32085 w 331548"/>
                <a:gd name="connsiteY0" fmla="*/ 32085 h 427805"/>
                <a:gd name="connsiteX1" fmla="*/ 299464 w 331548"/>
                <a:gd name="connsiteY1" fmla="*/ 32085 h 427805"/>
                <a:gd name="connsiteX2" fmla="*/ 299464 w 331548"/>
                <a:gd name="connsiteY2" fmla="*/ 395720 h 427805"/>
                <a:gd name="connsiteX3" fmla="*/ 32085 w 331548"/>
                <a:gd name="connsiteY3" fmla="*/ 395720 h 427805"/>
                <a:gd name="connsiteX4" fmla="*/ 32085 w 331548"/>
                <a:gd name="connsiteY4" fmla="*/ 32085 h 427805"/>
                <a:gd name="connsiteX5" fmla="*/ 0 w 331548"/>
                <a:gd name="connsiteY5" fmla="*/ 427805 h 427805"/>
                <a:gd name="connsiteX6" fmla="*/ 331549 w 331548"/>
                <a:gd name="connsiteY6" fmla="*/ 427805 h 427805"/>
                <a:gd name="connsiteX7" fmla="*/ 331549 w 331548"/>
                <a:gd name="connsiteY7" fmla="*/ 0 h 427805"/>
                <a:gd name="connsiteX8" fmla="*/ 0 w 331548"/>
                <a:gd name="connsiteY8" fmla="*/ 0 h 427805"/>
                <a:gd name="connsiteX9" fmla="*/ 0 w 331548"/>
                <a:gd name="connsiteY9" fmla="*/ 427805 h 42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548" h="427805">
                  <a:moveTo>
                    <a:pt x="32085" y="32085"/>
                  </a:moveTo>
                  <a:lnTo>
                    <a:pt x="299464" y="32085"/>
                  </a:lnTo>
                  <a:lnTo>
                    <a:pt x="299464" y="395720"/>
                  </a:lnTo>
                  <a:lnTo>
                    <a:pt x="32085" y="395720"/>
                  </a:lnTo>
                  <a:lnTo>
                    <a:pt x="32085" y="32085"/>
                  </a:lnTo>
                  <a:close/>
                  <a:moveTo>
                    <a:pt x="0" y="427805"/>
                  </a:moveTo>
                  <a:lnTo>
                    <a:pt x="331549" y="427805"/>
                  </a:lnTo>
                  <a:lnTo>
                    <a:pt x="331549" y="0"/>
                  </a:lnTo>
                  <a:lnTo>
                    <a:pt x="0" y="0"/>
                  </a:lnTo>
                  <a:lnTo>
                    <a:pt x="0" y="427805"/>
                  </a:lnTo>
                  <a:close/>
                </a:path>
              </a:pathLst>
            </a:custGeom>
            <a:grpFill/>
            <a:ln w="6350" cap="flat">
              <a:noFill/>
              <a:prstDash val="solid"/>
              <a:miter/>
            </a:ln>
          </p:spPr>
          <p:txBody>
            <a:bodyPr rtlCol="0" anchor="ctr"/>
            <a:lstStyle/>
            <a:p>
              <a:endParaRPr lang="en-FI"/>
            </a:p>
          </p:txBody>
        </p:sp>
        <p:sp>
          <p:nvSpPr>
            <p:cNvPr id="12" name="Freeform: Shape 11">
              <a:extLst>
                <a:ext uri="{FF2B5EF4-FFF2-40B4-BE49-F238E27FC236}">
                  <a16:creationId xmlns:a16="http://schemas.microsoft.com/office/drawing/2014/main" id="{16C811E0-3FE3-10A2-C5AA-D63ABFE4F8ED}"/>
                </a:ext>
              </a:extLst>
            </p:cNvPr>
            <p:cNvSpPr/>
            <p:nvPr/>
          </p:nvSpPr>
          <p:spPr>
            <a:xfrm>
              <a:off x="766006" y="1678148"/>
              <a:ext cx="90908" cy="21390"/>
            </a:xfrm>
            <a:custGeom>
              <a:avLst/>
              <a:gdLst>
                <a:gd name="connsiteX0" fmla="*/ 0 w 90908"/>
                <a:gd name="connsiteY0" fmla="*/ 0 h 21390"/>
                <a:gd name="connsiteX1" fmla="*/ 90909 w 90908"/>
                <a:gd name="connsiteY1" fmla="*/ 0 h 21390"/>
                <a:gd name="connsiteX2" fmla="*/ 90909 w 90908"/>
                <a:gd name="connsiteY2" fmla="*/ 21390 h 21390"/>
                <a:gd name="connsiteX3" fmla="*/ 0 w 90908"/>
                <a:gd name="connsiteY3" fmla="*/ 21390 h 21390"/>
              </a:gdLst>
              <a:ahLst/>
              <a:cxnLst>
                <a:cxn ang="0">
                  <a:pos x="connsiteX0" y="connsiteY0"/>
                </a:cxn>
                <a:cxn ang="0">
                  <a:pos x="connsiteX1" y="connsiteY1"/>
                </a:cxn>
                <a:cxn ang="0">
                  <a:pos x="connsiteX2" y="connsiteY2"/>
                </a:cxn>
                <a:cxn ang="0">
                  <a:pos x="connsiteX3" y="connsiteY3"/>
                </a:cxn>
              </a:cxnLst>
              <a:rect l="l" t="t" r="r" b="b"/>
              <a:pathLst>
                <a:path w="90908" h="21390">
                  <a:moveTo>
                    <a:pt x="0" y="0"/>
                  </a:moveTo>
                  <a:lnTo>
                    <a:pt x="90909" y="0"/>
                  </a:lnTo>
                  <a:lnTo>
                    <a:pt x="90909" y="21390"/>
                  </a:lnTo>
                  <a:lnTo>
                    <a:pt x="0" y="21390"/>
                  </a:lnTo>
                  <a:close/>
                </a:path>
              </a:pathLst>
            </a:custGeom>
            <a:grpFill/>
            <a:ln w="6350" cap="flat">
              <a:noFill/>
              <a:prstDash val="solid"/>
              <a:miter/>
            </a:ln>
          </p:spPr>
          <p:txBody>
            <a:bodyPr rtlCol="0" anchor="ctr"/>
            <a:lstStyle/>
            <a:p>
              <a:endParaRPr lang="en-FI"/>
            </a:p>
          </p:txBody>
        </p:sp>
        <p:sp>
          <p:nvSpPr>
            <p:cNvPr id="14" name="Freeform: Shape 13">
              <a:extLst>
                <a:ext uri="{FF2B5EF4-FFF2-40B4-BE49-F238E27FC236}">
                  <a16:creationId xmlns:a16="http://schemas.microsoft.com/office/drawing/2014/main" id="{60696F98-D072-1B80-D6C3-00776596B335}"/>
                </a:ext>
              </a:extLst>
            </p:cNvPr>
            <p:cNvSpPr/>
            <p:nvPr/>
          </p:nvSpPr>
          <p:spPr>
            <a:xfrm>
              <a:off x="766006" y="1763709"/>
              <a:ext cx="90908" cy="21390"/>
            </a:xfrm>
            <a:custGeom>
              <a:avLst/>
              <a:gdLst>
                <a:gd name="connsiteX0" fmla="*/ 0 w 90908"/>
                <a:gd name="connsiteY0" fmla="*/ 0 h 21390"/>
                <a:gd name="connsiteX1" fmla="*/ 90909 w 90908"/>
                <a:gd name="connsiteY1" fmla="*/ 0 h 21390"/>
                <a:gd name="connsiteX2" fmla="*/ 90909 w 90908"/>
                <a:gd name="connsiteY2" fmla="*/ 21390 h 21390"/>
                <a:gd name="connsiteX3" fmla="*/ 0 w 90908"/>
                <a:gd name="connsiteY3" fmla="*/ 21390 h 21390"/>
              </a:gdLst>
              <a:ahLst/>
              <a:cxnLst>
                <a:cxn ang="0">
                  <a:pos x="connsiteX0" y="connsiteY0"/>
                </a:cxn>
                <a:cxn ang="0">
                  <a:pos x="connsiteX1" y="connsiteY1"/>
                </a:cxn>
                <a:cxn ang="0">
                  <a:pos x="connsiteX2" y="connsiteY2"/>
                </a:cxn>
                <a:cxn ang="0">
                  <a:pos x="connsiteX3" y="connsiteY3"/>
                </a:cxn>
              </a:cxnLst>
              <a:rect l="l" t="t" r="r" b="b"/>
              <a:pathLst>
                <a:path w="90908" h="21390">
                  <a:moveTo>
                    <a:pt x="0" y="0"/>
                  </a:moveTo>
                  <a:lnTo>
                    <a:pt x="90909" y="0"/>
                  </a:lnTo>
                  <a:lnTo>
                    <a:pt x="90909" y="21390"/>
                  </a:lnTo>
                  <a:lnTo>
                    <a:pt x="0" y="21390"/>
                  </a:lnTo>
                  <a:close/>
                </a:path>
              </a:pathLst>
            </a:custGeom>
            <a:grpFill/>
            <a:ln w="6350" cap="flat">
              <a:noFill/>
              <a:prstDash val="solid"/>
              <a:miter/>
            </a:ln>
          </p:spPr>
          <p:txBody>
            <a:bodyPr rtlCol="0" anchor="ctr"/>
            <a:lstStyle/>
            <a:p>
              <a:endParaRPr lang="en-FI"/>
            </a:p>
          </p:txBody>
        </p:sp>
        <p:sp>
          <p:nvSpPr>
            <p:cNvPr id="16" name="Freeform: Shape 15">
              <a:extLst>
                <a:ext uri="{FF2B5EF4-FFF2-40B4-BE49-F238E27FC236}">
                  <a16:creationId xmlns:a16="http://schemas.microsoft.com/office/drawing/2014/main" id="{7ABE8032-85E2-4D1C-7B2E-6A6BA1C4D309}"/>
                </a:ext>
              </a:extLst>
            </p:cNvPr>
            <p:cNvSpPr/>
            <p:nvPr/>
          </p:nvSpPr>
          <p:spPr>
            <a:xfrm>
              <a:off x="766006" y="1934831"/>
              <a:ext cx="90908" cy="21390"/>
            </a:xfrm>
            <a:custGeom>
              <a:avLst/>
              <a:gdLst>
                <a:gd name="connsiteX0" fmla="*/ 0 w 90908"/>
                <a:gd name="connsiteY0" fmla="*/ 0 h 21390"/>
                <a:gd name="connsiteX1" fmla="*/ 90909 w 90908"/>
                <a:gd name="connsiteY1" fmla="*/ 0 h 21390"/>
                <a:gd name="connsiteX2" fmla="*/ 90909 w 90908"/>
                <a:gd name="connsiteY2" fmla="*/ 21390 h 21390"/>
                <a:gd name="connsiteX3" fmla="*/ 0 w 90908"/>
                <a:gd name="connsiteY3" fmla="*/ 21390 h 21390"/>
              </a:gdLst>
              <a:ahLst/>
              <a:cxnLst>
                <a:cxn ang="0">
                  <a:pos x="connsiteX0" y="connsiteY0"/>
                </a:cxn>
                <a:cxn ang="0">
                  <a:pos x="connsiteX1" y="connsiteY1"/>
                </a:cxn>
                <a:cxn ang="0">
                  <a:pos x="connsiteX2" y="connsiteY2"/>
                </a:cxn>
                <a:cxn ang="0">
                  <a:pos x="connsiteX3" y="connsiteY3"/>
                </a:cxn>
              </a:cxnLst>
              <a:rect l="l" t="t" r="r" b="b"/>
              <a:pathLst>
                <a:path w="90908" h="21390">
                  <a:moveTo>
                    <a:pt x="0" y="0"/>
                  </a:moveTo>
                  <a:lnTo>
                    <a:pt x="90909" y="0"/>
                  </a:lnTo>
                  <a:lnTo>
                    <a:pt x="90909" y="21390"/>
                  </a:lnTo>
                  <a:lnTo>
                    <a:pt x="0" y="21390"/>
                  </a:lnTo>
                  <a:close/>
                </a:path>
              </a:pathLst>
            </a:custGeom>
            <a:grpFill/>
            <a:ln w="6350" cap="flat">
              <a:noFill/>
              <a:prstDash val="solid"/>
              <a:miter/>
            </a:ln>
          </p:spPr>
          <p:txBody>
            <a:bodyPr rtlCol="0" anchor="ctr"/>
            <a:lstStyle/>
            <a:p>
              <a:endParaRPr lang="en-FI"/>
            </a:p>
          </p:txBody>
        </p:sp>
        <p:sp>
          <p:nvSpPr>
            <p:cNvPr id="19" name="Freeform: Shape 18">
              <a:extLst>
                <a:ext uri="{FF2B5EF4-FFF2-40B4-BE49-F238E27FC236}">
                  <a16:creationId xmlns:a16="http://schemas.microsoft.com/office/drawing/2014/main" id="{84D8527D-077F-7380-A98E-869AED0F07FD}"/>
                </a:ext>
              </a:extLst>
            </p:cNvPr>
            <p:cNvSpPr/>
            <p:nvPr/>
          </p:nvSpPr>
          <p:spPr>
            <a:xfrm>
              <a:off x="766006" y="1849270"/>
              <a:ext cx="90908" cy="21390"/>
            </a:xfrm>
            <a:custGeom>
              <a:avLst/>
              <a:gdLst>
                <a:gd name="connsiteX0" fmla="*/ 0 w 90908"/>
                <a:gd name="connsiteY0" fmla="*/ 0 h 21390"/>
                <a:gd name="connsiteX1" fmla="*/ 90909 w 90908"/>
                <a:gd name="connsiteY1" fmla="*/ 0 h 21390"/>
                <a:gd name="connsiteX2" fmla="*/ 90909 w 90908"/>
                <a:gd name="connsiteY2" fmla="*/ 21390 h 21390"/>
                <a:gd name="connsiteX3" fmla="*/ 0 w 90908"/>
                <a:gd name="connsiteY3" fmla="*/ 21390 h 21390"/>
              </a:gdLst>
              <a:ahLst/>
              <a:cxnLst>
                <a:cxn ang="0">
                  <a:pos x="connsiteX0" y="connsiteY0"/>
                </a:cxn>
                <a:cxn ang="0">
                  <a:pos x="connsiteX1" y="connsiteY1"/>
                </a:cxn>
                <a:cxn ang="0">
                  <a:pos x="connsiteX2" y="connsiteY2"/>
                </a:cxn>
                <a:cxn ang="0">
                  <a:pos x="connsiteX3" y="connsiteY3"/>
                </a:cxn>
              </a:cxnLst>
              <a:rect l="l" t="t" r="r" b="b"/>
              <a:pathLst>
                <a:path w="90908" h="21390">
                  <a:moveTo>
                    <a:pt x="0" y="0"/>
                  </a:moveTo>
                  <a:lnTo>
                    <a:pt x="90909" y="0"/>
                  </a:lnTo>
                  <a:lnTo>
                    <a:pt x="90909" y="21390"/>
                  </a:lnTo>
                  <a:lnTo>
                    <a:pt x="0" y="21390"/>
                  </a:lnTo>
                  <a:close/>
                </a:path>
              </a:pathLst>
            </a:custGeom>
            <a:grpFill/>
            <a:ln w="6350" cap="flat">
              <a:noFill/>
              <a:prstDash val="solid"/>
              <a:miter/>
            </a:ln>
          </p:spPr>
          <p:txBody>
            <a:bodyPr rtlCol="0" anchor="ctr"/>
            <a:lstStyle/>
            <a:p>
              <a:endParaRPr lang="en-FI"/>
            </a:p>
          </p:txBody>
        </p:sp>
        <p:sp>
          <p:nvSpPr>
            <p:cNvPr id="20" name="Freeform: Shape 19">
              <a:extLst>
                <a:ext uri="{FF2B5EF4-FFF2-40B4-BE49-F238E27FC236}">
                  <a16:creationId xmlns:a16="http://schemas.microsoft.com/office/drawing/2014/main" id="{CCD2D513-CBB5-0307-D015-6E96025D4AF8}"/>
                </a:ext>
              </a:extLst>
            </p:cNvPr>
            <p:cNvSpPr/>
            <p:nvPr/>
          </p:nvSpPr>
          <p:spPr>
            <a:xfrm>
              <a:off x="653707" y="1651411"/>
              <a:ext cx="79143" cy="65240"/>
            </a:xfrm>
            <a:custGeom>
              <a:avLst/>
              <a:gdLst>
                <a:gd name="connsiteX0" fmla="*/ 79144 w 79143"/>
                <a:gd name="connsiteY0" fmla="*/ 14973 h 65240"/>
                <a:gd name="connsiteX1" fmla="*/ 64171 w 79143"/>
                <a:gd name="connsiteY1" fmla="*/ 0 h 65240"/>
                <a:gd name="connsiteX2" fmla="*/ 28877 w 79143"/>
                <a:gd name="connsiteY2" fmla="*/ 35294 h 65240"/>
                <a:gd name="connsiteX3" fmla="*/ 14973 w 79143"/>
                <a:gd name="connsiteY3" fmla="*/ 21390 h 65240"/>
                <a:gd name="connsiteX4" fmla="*/ 0 w 79143"/>
                <a:gd name="connsiteY4" fmla="*/ 36363 h 65240"/>
                <a:gd name="connsiteX5" fmla="*/ 28877 w 79143"/>
                <a:gd name="connsiteY5" fmla="*/ 65240 h 6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43" h="65240">
                  <a:moveTo>
                    <a:pt x="79144" y="14973"/>
                  </a:moveTo>
                  <a:lnTo>
                    <a:pt x="64171" y="0"/>
                  </a:lnTo>
                  <a:lnTo>
                    <a:pt x="28877" y="35294"/>
                  </a:lnTo>
                  <a:lnTo>
                    <a:pt x="14973" y="21390"/>
                  </a:lnTo>
                  <a:lnTo>
                    <a:pt x="0" y="36363"/>
                  </a:lnTo>
                  <a:lnTo>
                    <a:pt x="28877" y="65240"/>
                  </a:lnTo>
                  <a:close/>
                </a:path>
              </a:pathLst>
            </a:custGeom>
            <a:grpFill/>
            <a:ln w="6350" cap="flat">
              <a:noFill/>
              <a:prstDash val="solid"/>
              <a:miter/>
            </a:ln>
          </p:spPr>
          <p:txBody>
            <a:bodyPr rtlCol="0" anchor="ctr"/>
            <a:lstStyle/>
            <a:p>
              <a:endParaRPr lang="en-FI"/>
            </a:p>
          </p:txBody>
        </p:sp>
        <p:sp>
          <p:nvSpPr>
            <p:cNvPr id="21" name="Freeform: Shape 20">
              <a:extLst>
                <a:ext uri="{FF2B5EF4-FFF2-40B4-BE49-F238E27FC236}">
                  <a16:creationId xmlns:a16="http://schemas.microsoft.com/office/drawing/2014/main" id="{5D46137C-1325-3834-CDB3-5CC060F3A4EF}"/>
                </a:ext>
              </a:extLst>
            </p:cNvPr>
            <p:cNvSpPr/>
            <p:nvPr/>
          </p:nvSpPr>
          <p:spPr>
            <a:xfrm>
              <a:off x="653707" y="1736972"/>
              <a:ext cx="79143" cy="65240"/>
            </a:xfrm>
            <a:custGeom>
              <a:avLst/>
              <a:gdLst>
                <a:gd name="connsiteX0" fmla="*/ 79144 w 79143"/>
                <a:gd name="connsiteY0" fmla="*/ 14973 h 65240"/>
                <a:gd name="connsiteX1" fmla="*/ 64171 w 79143"/>
                <a:gd name="connsiteY1" fmla="*/ 0 h 65240"/>
                <a:gd name="connsiteX2" fmla="*/ 28877 w 79143"/>
                <a:gd name="connsiteY2" fmla="*/ 35294 h 65240"/>
                <a:gd name="connsiteX3" fmla="*/ 14973 w 79143"/>
                <a:gd name="connsiteY3" fmla="*/ 21390 h 65240"/>
                <a:gd name="connsiteX4" fmla="*/ 0 w 79143"/>
                <a:gd name="connsiteY4" fmla="*/ 36363 h 65240"/>
                <a:gd name="connsiteX5" fmla="*/ 28877 w 79143"/>
                <a:gd name="connsiteY5" fmla="*/ 65240 h 6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43" h="65240">
                  <a:moveTo>
                    <a:pt x="79144" y="14973"/>
                  </a:moveTo>
                  <a:lnTo>
                    <a:pt x="64171" y="0"/>
                  </a:lnTo>
                  <a:lnTo>
                    <a:pt x="28877" y="35294"/>
                  </a:lnTo>
                  <a:lnTo>
                    <a:pt x="14973" y="21390"/>
                  </a:lnTo>
                  <a:lnTo>
                    <a:pt x="0" y="36363"/>
                  </a:lnTo>
                  <a:lnTo>
                    <a:pt x="28877" y="65240"/>
                  </a:lnTo>
                  <a:close/>
                </a:path>
              </a:pathLst>
            </a:custGeom>
            <a:grpFill/>
            <a:ln w="6350" cap="flat">
              <a:noFill/>
              <a:prstDash val="solid"/>
              <a:miter/>
            </a:ln>
          </p:spPr>
          <p:txBody>
            <a:bodyPr rtlCol="0" anchor="ctr"/>
            <a:lstStyle/>
            <a:p>
              <a:endParaRPr lang="en-FI"/>
            </a:p>
          </p:txBody>
        </p:sp>
        <p:sp>
          <p:nvSpPr>
            <p:cNvPr id="22" name="Freeform: Shape 21">
              <a:extLst>
                <a:ext uri="{FF2B5EF4-FFF2-40B4-BE49-F238E27FC236}">
                  <a16:creationId xmlns:a16="http://schemas.microsoft.com/office/drawing/2014/main" id="{E854DFA9-247D-9277-C58E-A4C820CAC57C}"/>
                </a:ext>
              </a:extLst>
            </p:cNvPr>
            <p:cNvSpPr/>
            <p:nvPr/>
          </p:nvSpPr>
          <p:spPr>
            <a:xfrm>
              <a:off x="653707" y="1822533"/>
              <a:ext cx="79143" cy="65240"/>
            </a:xfrm>
            <a:custGeom>
              <a:avLst/>
              <a:gdLst>
                <a:gd name="connsiteX0" fmla="*/ 79144 w 79143"/>
                <a:gd name="connsiteY0" fmla="*/ 14973 h 65240"/>
                <a:gd name="connsiteX1" fmla="*/ 64171 w 79143"/>
                <a:gd name="connsiteY1" fmla="*/ 0 h 65240"/>
                <a:gd name="connsiteX2" fmla="*/ 28877 w 79143"/>
                <a:gd name="connsiteY2" fmla="*/ 35294 h 65240"/>
                <a:gd name="connsiteX3" fmla="*/ 14973 w 79143"/>
                <a:gd name="connsiteY3" fmla="*/ 21390 h 65240"/>
                <a:gd name="connsiteX4" fmla="*/ 0 w 79143"/>
                <a:gd name="connsiteY4" fmla="*/ 36363 h 65240"/>
                <a:gd name="connsiteX5" fmla="*/ 28877 w 79143"/>
                <a:gd name="connsiteY5" fmla="*/ 65240 h 6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43" h="65240">
                  <a:moveTo>
                    <a:pt x="79144" y="14973"/>
                  </a:moveTo>
                  <a:lnTo>
                    <a:pt x="64171" y="0"/>
                  </a:lnTo>
                  <a:lnTo>
                    <a:pt x="28877" y="35294"/>
                  </a:lnTo>
                  <a:lnTo>
                    <a:pt x="14973" y="21390"/>
                  </a:lnTo>
                  <a:lnTo>
                    <a:pt x="0" y="36363"/>
                  </a:lnTo>
                  <a:lnTo>
                    <a:pt x="28877" y="65240"/>
                  </a:lnTo>
                  <a:close/>
                </a:path>
              </a:pathLst>
            </a:custGeom>
            <a:grpFill/>
            <a:ln w="6350" cap="flat">
              <a:noFill/>
              <a:prstDash val="solid"/>
              <a:miter/>
            </a:ln>
          </p:spPr>
          <p:txBody>
            <a:bodyPr rtlCol="0" anchor="ctr"/>
            <a:lstStyle/>
            <a:p>
              <a:endParaRPr lang="en-FI"/>
            </a:p>
          </p:txBody>
        </p:sp>
        <p:sp>
          <p:nvSpPr>
            <p:cNvPr id="23" name="Freeform: Shape 22">
              <a:extLst>
                <a:ext uri="{FF2B5EF4-FFF2-40B4-BE49-F238E27FC236}">
                  <a16:creationId xmlns:a16="http://schemas.microsoft.com/office/drawing/2014/main" id="{153D16AC-286A-62DC-D1B0-823BB4CA0DC3}"/>
                </a:ext>
              </a:extLst>
            </p:cNvPr>
            <p:cNvSpPr/>
            <p:nvPr/>
          </p:nvSpPr>
          <p:spPr>
            <a:xfrm>
              <a:off x="653707" y="1907024"/>
              <a:ext cx="79143" cy="65240"/>
            </a:xfrm>
            <a:custGeom>
              <a:avLst/>
              <a:gdLst>
                <a:gd name="connsiteX0" fmla="*/ 79144 w 79143"/>
                <a:gd name="connsiteY0" fmla="*/ 14973 h 65240"/>
                <a:gd name="connsiteX1" fmla="*/ 64171 w 79143"/>
                <a:gd name="connsiteY1" fmla="*/ 0 h 65240"/>
                <a:gd name="connsiteX2" fmla="*/ 28877 w 79143"/>
                <a:gd name="connsiteY2" fmla="*/ 35294 h 65240"/>
                <a:gd name="connsiteX3" fmla="*/ 14973 w 79143"/>
                <a:gd name="connsiteY3" fmla="*/ 21390 h 65240"/>
                <a:gd name="connsiteX4" fmla="*/ 0 w 79143"/>
                <a:gd name="connsiteY4" fmla="*/ 36363 h 65240"/>
                <a:gd name="connsiteX5" fmla="*/ 28877 w 79143"/>
                <a:gd name="connsiteY5" fmla="*/ 65240 h 6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143" h="65240">
                  <a:moveTo>
                    <a:pt x="79144" y="14973"/>
                  </a:moveTo>
                  <a:lnTo>
                    <a:pt x="64171" y="0"/>
                  </a:lnTo>
                  <a:lnTo>
                    <a:pt x="28877" y="35294"/>
                  </a:lnTo>
                  <a:lnTo>
                    <a:pt x="14973" y="21390"/>
                  </a:lnTo>
                  <a:lnTo>
                    <a:pt x="0" y="36363"/>
                  </a:lnTo>
                  <a:lnTo>
                    <a:pt x="28877" y="65240"/>
                  </a:lnTo>
                  <a:close/>
                </a:path>
              </a:pathLst>
            </a:custGeom>
            <a:grpFill/>
            <a:ln w="6350" cap="flat">
              <a:noFill/>
              <a:prstDash val="solid"/>
              <a:miter/>
            </a:ln>
          </p:spPr>
          <p:txBody>
            <a:bodyPr rtlCol="0" anchor="ctr"/>
            <a:lstStyle/>
            <a:p>
              <a:endParaRPr lang="en-FI"/>
            </a:p>
          </p:txBody>
        </p:sp>
      </p:grpSp>
      <p:sp>
        <p:nvSpPr>
          <p:cNvPr id="2" name="Freeform: Shape 33">
            <a:extLst>
              <a:ext uri="{FF2B5EF4-FFF2-40B4-BE49-F238E27FC236}">
                <a16:creationId xmlns:a16="http://schemas.microsoft.com/office/drawing/2014/main" id="{0D047B3A-4E0C-DA2F-6CF5-C6AF019EE232}"/>
              </a:ext>
              <a:ext uri="{C183D7F6-B498-43B3-948B-1728B52AA6E4}">
                <adec:decorative xmlns:adec="http://schemas.microsoft.com/office/drawing/2017/decorative" val="1"/>
              </a:ext>
            </a:extLst>
          </p:cNvPr>
          <p:cNvSpPr>
            <a:spLocks/>
          </p:cNvSpPr>
          <p:nvPr/>
        </p:nvSpPr>
        <p:spPr bwMode="auto">
          <a:xfrm>
            <a:off x="2706850" y="2152117"/>
            <a:ext cx="641898" cy="692137"/>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w="3175">
                <a:noFill/>
              </a:ln>
              <a:solidFill>
                <a:srgbClr val="000000"/>
              </a:solidFill>
              <a:effectLst/>
              <a:uLnTx/>
              <a:uFillTx/>
              <a:latin typeface="Segoe UI"/>
              <a:ea typeface="+mn-ea"/>
              <a:cs typeface="Segoe UI" pitchFamily="34" charset="0"/>
            </a:endParaRPr>
          </a:p>
        </p:txBody>
      </p:sp>
      <p:sp>
        <p:nvSpPr>
          <p:cNvPr id="3" name="Freeform: Shape 30">
            <a:extLst>
              <a:ext uri="{FF2B5EF4-FFF2-40B4-BE49-F238E27FC236}">
                <a16:creationId xmlns:a16="http://schemas.microsoft.com/office/drawing/2014/main" id="{11AF153B-A318-C105-B8DA-FAADFE39A858}"/>
              </a:ext>
              <a:ext uri="{C183D7F6-B498-43B3-948B-1728B52AA6E4}">
                <adec:decorative xmlns:adec="http://schemas.microsoft.com/office/drawing/2017/decorative" val="0"/>
              </a:ext>
            </a:extLst>
          </p:cNvPr>
          <p:cNvSpPr>
            <a:spLocks/>
          </p:cNvSpPr>
          <p:nvPr/>
        </p:nvSpPr>
        <p:spPr bwMode="auto">
          <a:xfrm>
            <a:off x="3496593" y="2388081"/>
            <a:ext cx="7381828" cy="30937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742" fontAlgn="base">
              <a:spcBef>
                <a:spcPct val="0"/>
              </a:spcBef>
              <a:spcAft>
                <a:spcPct val="0"/>
              </a:spcAft>
            </a:pPr>
            <a:r>
              <a:rPr lang="en-US" sz="2000" kern="0" dirty="0">
                <a:ln w="3175">
                  <a:noFill/>
                </a:ln>
                <a:solidFill>
                  <a:srgbClr val="000000"/>
                </a:solidFill>
              </a:rPr>
              <a:t>Bookings Support</a:t>
            </a:r>
          </a:p>
        </p:txBody>
      </p:sp>
      <p:cxnSp>
        <p:nvCxnSpPr>
          <p:cNvPr id="4" name="Straight Connector 3">
            <a:extLst>
              <a:ext uri="{FF2B5EF4-FFF2-40B4-BE49-F238E27FC236}">
                <a16:creationId xmlns:a16="http://schemas.microsoft.com/office/drawing/2014/main" id="{B6D70FCB-3B05-0F85-1CFE-EEFC9A9CD5F8}"/>
              </a:ext>
              <a:ext uri="{C183D7F6-B498-43B3-948B-1728B52AA6E4}">
                <adec:decorative xmlns:adec="http://schemas.microsoft.com/office/drawing/2017/decorative" val="1"/>
              </a:ext>
            </a:extLst>
          </p:cNvPr>
          <p:cNvCxnSpPr>
            <a:cxnSpLocks/>
          </p:cNvCxnSpPr>
          <p:nvPr/>
        </p:nvCxnSpPr>
        <p:spPr>
          <a:xfrm>
            <a:off x="3478079" y="1975488"/>
            <a:ext cx="7041416"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5" name="Graphic 34">
            <a:extLst>
              <a:ext uri="{FF2B5EF4-FFF2-40B4-BE49-F238E27FC236}">
                <a16:creationId xmlns:a16="http://schemas.microsoft.com/office/drawing/2014/main" id="{9661D4A7-2D3D-89F6-B37F-1D8D3431E5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868298" y="2332714"/>
            <a:ext cx="319002" cy="319002"/>
          </a:xfrm>
          <a:prstGeom prst="rect">
            <a:avLst/>
          </a:prstGeom>
          <a:effectLst>
            <a:outerShdw blurRad="50800" dist="38100" dir="2700000" algn="tl" rotWithShape="0">
              <a:srgbClr val="0C073D">
                <a:alpha val="40000"/>
              </a:srgbClr>
            </a:outerShdw>
          </a:effectLst>
        </p:spPr>
      </p:pic>
    </p:spTree>
    <p:extLst>
      <p:ext uri="{BB962C8B-B14F-4D97-AF65-F5344CB8AC3E}">
        <p14:creationId xmlns:p14="http://schemas.microsoft.com/office/powerpoint/2010/main" val="6016234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288DF-C91D-64AD-DD9C-CACA2ABF005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81DCAE5-BEDA-3C75-7279-009220DA5220}"/>
              </a:ext>
            </a:extLst>
          </p:cNvPr>
          <p:cNvSpPr>
            <a:spLocks noGrp="1"/>
          </p:cNvSpPr>
          <p:nvPr>
            <p:ph type="title"/>
          </p:nvPr>
        </p:nvSpPr>
        <p:spPr>
          <a:xfrm>
            <a:off x="583375" y="3152001"/>
            <a:ext cx="4463638" cy="553998"/>
          </a:xfrm>
        </p:spPr>
        <p:txBody>
          <a:bodyPr/>
          <a:lstStyle/>
          <a:p>
            <a:r>
              <a:rPr lang="en-US" sz="4000" dirty="0">
                <a:cs typeface="Segoe Sans Display"/>
              </a:rPr>
              <a:t>Bookings Overview</a:t>
            </a:r>
            <a:endParaRPr lang="en-US" sz="4000" dirty="0"/>
          </a:p>
        </p:txBody>
      </p:sp>
    </p:spTree>
    <p:extLst>
      <p:ext uri="{BB962C8B-B14F-4D97-AF65-F5344CB8AC3E}">
        <p14:creationId xmlns:p14="http://schemas.microsoft.com/office/powerpoint/2010/main" val="49112975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AE228-92C4-2EAF-90EB-2C9ACDEE3D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156A1F-ED2C-B031-B335-7010F876FA0C}"/>
              </a:ext>
            </a:extLst>
          </p:cNvPr>
          <p:cNvSpPr>
            <a:spLocks noGrp="1"/>
          </p:cNvSpPr>
          <p:nvPr>
            <p:ph type="title"/>
          </p:nvPr>
        </p:nvSpPr>
        <p:spPr/>
        <p:txBody>
          <a:bodyPr/>
          <a:lstStyle/>
          <a:p>
            <a:pPr algn="ctr"/>
            <a:r>
              <a:rPr lang="en-US">
                <a:cs typeface="Segoe UI"/>
              </a:rPr>
              <a:t>Agent Controls Model</a:t>
            </a:r>
            <a:endParaRPr lang="en-US"/>
          </a:p>
        </p:txBody>
      </p:sp>
      <p:sp>
        <p:nvSpPr>
          <p:cNvPr id="3" name="Rectangle: Rounded Corners 2">
            <a:extLst>
              <a:ext uri="{FF2B5EF4-FFF2-40B4-BE49-F238E27FC236}">
                <a16:creationId xmlns:a16="http://schemas.microsoft.com/office/drawing/2014/main" id="{8A4E7CB3-C9F7-C0D8-F285-E6C6BDE06C04}"/>
              </a:ext>
              <a:ext uri="{C183D7F6-B498-43B3-948B-1728B52AA6E4}">
                <adec:decorative xmlns:adec="http://schemas.microsoft.com/office/drawing/2017/decorative" val="1"/>
              </a:ext>
            </a:extLst>
          </p:cNvPr>
          <p:cNvSpPr/>
          <p:nvPr/>
        </p:nvSpPr>
        <p:spPr bwMode="auto">
          <a:xfrm>
            <a:off x="274320" y="1298448"/>
            <a:ext cx="11643360" cy="5138928"/>
          </a:xfrm>
          <a:prstGeom prst="roundRect">
            <a:avLst>
              <a:gd name="adj" fmla="val 5361"/>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grpSp>
        <p:nvGrpSpPr>
          <p:cNvPr id="40" name="Group 39">
            <a:extLst>
              <a:ext uri="{FF2B5EF4-FFF2-40B4-BE49-F238E27FC236}">
                <a16:creationId xmlns:a16="http://schemas.microsoft.com/office/drawing/2014/main" id="{4EDCFE61-DD57-6614-4E95-46EA1E1871E8}"/>
              </a:ext>
              <a:ext uri="{C183D7F6-B498-43B3-948B-1728B52AA6E4}">
                <adec:decorative xmlns:adec="http://schemas.microsoft.com/office/drawing/2017/decorative" val="1"/>
              </a:ext>
            </a:extLst>
          </p:cNvPr>
          <p:cNvGrpSpPr>
            <a:grpSpLocks/>
          </p:cNvGrpSpPr>
          <p:nvPr/>
        </p:nvGrpSpPr>
        <p:grpSpPr>
          <a:xfrm flipH="1">
            <a:off x="673479" y="5577208"/>
            <a:ext cx="365760" cy="365760"/>
            <a:chOff x="11191361" y="-22002"/>
            <a:chExt cx="365760" cy="365760"/>
          </a:xfrm>
        </p:grpSpPr>
        <p:sp>
          <p:nvSpPr>
            <p:cNvPr id="41" name="Freeform: Shape 115">
              <a:extLst>
                <a:ext uri="{FF2B5EF4-FFF2-40B4-BE49-F238E27FC236}">
                  <a16:creationId xmlns:a16="http://schemas.microsoft.com/office/drawing/2014/main" id="{C60506F6-E9DA-72C9-7768-471835318EEB}"/>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Graphic 16">
              <a:extLst>
                <a:ext uri="{FF2B5EF4-FFF2-40B4-BE49-F238E27FC236}">
                  <a16:creationId xmlns:a16="http://schemas.microsoft.com/office/drawing/2014/main" id="{746832EB-F287-D5DD-CE16-8C6CB4FDB0C5}"/>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43" name="Group 42">
            <a:extLst>
              <a:ext uri="{FF2B5EF4-FFF2-40B4-BE49-F238E27FC236}">
                <a16:creationId xmlns:a16="http://schemas.microsoft.com/office/drawing/2014/main" id="{351AE8FE-4EFC-B6A9-9CE0-224F86323523}"/>
              </a:ext>
              <a:ext uri="{C183D7F6-B498-43B3-948B-1728B52AA6E4}">
                <adec:decorative xmlns:adec="http://schemas.microsoft.com/office/drawing/2017/decorative" val="1"/>
              </a:ext>
            </a:extLst>
          </p:cNvPr>
          <p:cNvGrpSpPr>
            <a:grpSpLocks/>
          </p:cNvGrpSpPr>
          <p:nvPr/>
        </p:nvGrpSpPr>
        <p:grpSpPr>
          <a:xfrm>
            <a:off x="11193473" y="5577208"/>
            <a:ext cx="365760" cy="365760"/>
            <a:chOff x="11191361" y="-22002"/>
            <a:chExt cx="365760" cy="365760"/>
          </a:xfrm>
        </p:grpSpPr>
        <p:sp>
          <p:nvSpPr>
            <p:cNvPr id="44" name="Freeform: Shape 115">
              <a:extLst>
                <a:ext uri="{FF2B5EF4-FFF2-40B4-BE49-F238E27FC236}">
                  <a16:creationId xmlns:a16="http://schemas.microsoft.com/office/drawing/2014/main" id="{74C1E3FF-FC18-D8BB-806F-71F0312DC48E}"/>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5" name="Graphic 16">
              <a:extLst>
                <a:ext uri="{FF2B5EF4-FFF2-40B4-BE49-F238E27FC236}">
                  <a16:creationId xmlns:a16="http://schemas.microsoft.com/office/drawing/2014/main" id="{B9B867F5-FF61-B679-03AA-EDFF3FE83CE6}"/>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sp>
        <p:nvSpPr>
          <p:cNvPr id="5" name="Rectangle 4">
            <a:extLst>
              <a:ext uri="{FF2B5EF4-FFF2-40B4-BE49-F238E27FC236}">
                <a16:creationId xmlns:a16="http://schemas.microsoft.com/office/drawing/2014/main" id="{116838D0-C29A-1989-4EA5-5006E5420C9E}"/>
              </a:ext>
              <a:ext uri="{C183D7F6-B498-43B3-948B-1728B52AA6E4}">
                <adec:decorative xmlns:adec="http://schemas.microsoft.com/office/drawing/2017/decorative" val="1"/>
              </a:ext>
            </a:extLst>
          </p:cNvPr>
          <p:cNvSpPr/>
          <p:nvPr/>
        </p:nvSpPr>
        <p:spPr bwMode="auto">
          <a:xfrm>
            <a:off x="7771603" y="1636776"/>
            <a:ext cx="2307010" cy="1059821"/>
          </a:xfrm>
          <a:prstGeom prst="rect">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482E0177-ABC0-E842-2621-9FD6C9422565}"/>
              </a:ext>
              <a:ext uri="{C183D7F6-B498-43B3-948B-1728B52AA6E4}">
                <adec:decorative xmlns:adec="http://schemas.microsoft.com/office/drawing/2017/decorative" val="1"/>
              </a:ext>
            </a:extLst>
          </p:cNvPr>
          <p:cNvSpPr/>
          <p:nvPr/>
        </p:nvSpPr>
        <p:spPr bwMode="auto">
          <a:xfrm>
            <a:off x="4941790" y="1876093"/>
            <a:ext cx="2308421" cy="903598"/>
          </a:xfrm>
          <a:prstGeom prst="rect">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E355CD80-0ED9-079F-2B5B-433EEACEA119}"/>
              </a:ext>
              <a:ext uri="{C183D7F6-B498-43B3-948B-1728B52AA6E4}">
                <adec:decorative xmlns:adec="http://schemas.microsoft.com/office/drawing/2017/decorative" val="1"/>
              </a:ext>
            </a:extLst>
          </p:cNvPr>
          <p:cNvSpPr/>
          <p:nvPr/>
        </p:nvSpPr>
        <p:spPr bwMode="auto">
          <a:xfrm>
            <a:off x="2112320" y="2141793"/>
            <a:ext cx="2308421" cy="844807"/>
          </a:xfrm>
          <a:prstGeom prst="rect">
            <a:avLst/>
          </a:prstGeom>
          <a:solidFill>
            <a:srgbClr val="F2CAE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86F13CAA-8F60-F747-AE80-5624B42EE3EB}"/>
              </a:ext>
              <a:ext uri="{C183D7F6-B498-43B3-948B-1728B52AA6E4}">
                <adec:decorative xmlns:adec="http://schemas.microsoft.com/office/drawing/2017/decorative" val="1"/>
              </a:ext>
            </a:extLst>
          </p:cNvPr>
          <p:cNvSpPr/>
          <p:nvPr/>
        </p:nvSpPr>
        <p:spPr bwMode="auto">
          <a:xfrm>
            <a:off x="2112149" y="2696598"/>
            <a:ext cx="2308421" cy="2524625"/>
          </a:xfrm>
          <a:prstGeom prst="roundRect">
            <a:avLst>
              <a:gd name="adj" fmla="val 9338"/>
            </a:avLst>
          </a:prstGeom>
          <a:solidFill>
            <a:srgbClr val="F5D7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652D2FE4-C7D9-D560-CF6F-5F7976848A6F}"/>
              </a:ext>
              <a:ext uri="{C183D7F6-B498-43B3-948B-1728B52AA6E4}">
                <adec:decorative xmlns:adec="http://schemas.microsoft.com/office/drawing/2017/decorative" val="1"/>
              </a:ext>
            </a:extLst>
          </p:cNvPr>
          <p:cNvSpPr/>
          <p:nvPr/>
        </p:nvSpPr>
        <p:spPr bwMode="auto">
          <a:xfrm>
            <a:off x="7771603" y="2696598"/>
            <a:ext cx="2307010" cy="2524625"/>
          </a:xfrm>
          <a:prstGeom prst="roundRect">
            <a:avLst>
              <a:gd name="adj" fmla="val 9338"/>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F021AC98-F26A-8540-29FC-AEECDEF6E70C}"/>
              </a:ext>
              <a:ext uri="{C183D7F6-B498-43B3-948B-1728B52AA6E4}">
                <adec:decorative xmlns:adec="http://schemas.microsoft.com/office/drawing/2017/decorative" val="1"/>
              </a:ext>
            </a:extLst>
          </p:cNvPr>
          <p:cNvSpPr/>
          <p:nvPr/>
        </p:nvSpPr>
        <p:spPr bwMode="auto">
          <a:xfrm>
            <a:off x="4941790" y="2696598"/>
            <a:ext cx="2308421" cy="2524625"/>
          </a:xfrm>
          <a:prstGeom prst="roundRect">
            <a:avLst>
              <a:gd name="adj" fmla="val 9338"/>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2F2A2643-F116-FEFE-CFDC-ACAE1CBD3475}"/>
              </a:ext>
              <a:ext uri="{C183D7F6-B498-43B3-948B-1728B52AA6E4}">
                <adec:decorative xmlns:adec="http://schemas.microsoft.com/office/drawing/2017/decorative" val="1"/>
              </a:ext>
            </a:extLst>
          </p:cNvPr>
          <p:cNvSpPr/>
          <p:nvPr/>
        </p:nvSpPr>
        <p:spPr bwMode="auto">
          <a:xfrm>
            <a:off x="575220" y="2513989"/>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grpSp>
        <p:nvGrpSpPr>
          <p:cNvPr id="26" name="Group 25">
            <a:extLst>
              <a:ext uri="{FF2B5EF4-FFF2-40B4-BE49-F238E27FC236}">
                <a16:creationId xmlns:a16="http://schemas.microsoft.com/office/drawing/2014/main" id="{4DA26348-EAA8-7022-3A41-91E35510E5C4}"/>
              </a:ext>
              <a:ext uri="{C183D7F6-B498-43B3-948B-1728B52AA6E4}">
                <adec:decorative xmlns:adec="http://schemas.microsoft.com/office/drawing/2017/decorative" val="1"/>
              </a:ext>
            </a:extLst>
          </p:cNvPr>
          <p:cNvGrpSpPr/>
          <p:nvPr/>
        </p:nvGrpSpPr>
        <p:grpSpPr>
          <a:xfrm>
            <a:off x="2770858" y="2279928"/>
            <a:ext cx="991344" cy="991341"/>
            <a:chOff x="3031090" y="2734209"/>
            <a:chExt cx="752625" cy="752623"/>
          </a:xfrm>
        </p:grpSpPr>
        <p:sp>
          <p:nvSpPr>
            <p:cNvPr id="28" name="Oval 27">
              <a:extLst>
                <a:ext uri="{FF2B5EF4-FFF2-40B4-BE49-F238E27FC236}">
                  <a16:creationId xmlns:a16="http://schemas.microsoft.com/office/drawing/2014/main" id="{5F7917AA-CC3B-0CB0-6057-BBBA10E8BE0A}"/>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1CE675DA-C55B-65BD-6E8B-4A3040BDD6A5}"/>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7" name="Graphic 26">
            <a:extLst>
              <a:ext uri="{FF2B5EF4-FFF2-40B4-BE49-F238E27FC236}">
                <a16:creationId xmlns:a16="http://schemas.microsoft.com/office/drawing/2014/main" id="{9E07A596-A040-8C1F-F634-FBA6E51C616F}"/>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70587" y="2486302"/>
            <a:ext cx="591887" cy="591887"/>
          </a:xfrm>
          <a:prstGeom prst="rect">
            <a:avLst/>
          </a:prstGeom>
        </p:spPr>
      </p:pic>
      <p:grpSp>
        <p:nvGrpSpPr>
          <p:cNvPr id="22" name="Group 21">
            <a:extLst>
              <a:ext uri="{FF2B5EF4-FFF2-40B4-BE49-F238E27FC236}">
                <a16:creationId xmlns:a16="http://schemas.microsoft.com/office/drawing/2014/main" id="{AD9112D0-ECC0-FDAC-5D0E-B4C5893078F9}"/>
              </a:ext>
              <a:ext uri="{C183D7F6-B498-43B3-948B-1728B52AA6E4}">
                <adec:decorative xmlns:adec="http://schemas.microsoft.com/office/drawing/2017/decorative" val="1"/>
              </a:ext>
            </a:extLst>
          </p:cNvPr>
          <p:cNvGrpSpPr/>
          <p:nvPr/>
        </p:nvGrpSpPr>
        <p:grpSpPr>
          <a:xfrm>
            <a:off x="5600328" y="2265204"/>
            <a:ext cx="991344" cy="991341"/>
            <a:chOff x="3031090" y="2734209"/>
            <a:chExt cx="752625" cy="752623"/>
          </a:xfrm>
        </p:grpSpPr>
        <p:sp>
          <p:nvSpPr>
            <p:cNvPr id="24" name="Oval 23">
              <a:extLst>
                <a:ext uri="{FF2B5EF4-FFF2-40B4-BE49-F238E27FC236}">
                  <a16:creationId xmlns:a16="http://schemas.microsoft.com/office/drawing/2014/main" id="{02CCB3C1-AE17-FCD8-BC09-59367A4A604F}"/>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0D92DCBA-8AD7-2957-DA94-ABBB9B317FC0}"/>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3" name="Graphic 22">
            <a:extLst>
              <a:ext uri="{FF2B5EF4-FFF2-40B4-BE49-F238E27FC236}">
                <a16:creationId xmlns:a16="http://schemas.microsoft.com/office/drawing/2014/main" id="{BEA0EA0D-2C9B-E3E7-8FB5-BE470F6CED78}"/>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9963" y="2477098"/>
            <a:ext cx="552075" cy="552075"/>
          </a:xfrm>
          <a:prstGeom prst="rect">
            <a:avLst/>
          </a:prstGeom>
        </p:spPr>
      </p:pic>
      <p:grpSp>
        <p:nvGrpSpPr>
          <p:cNvPr id="18" name="Group 17">
            <a:extLst>
              <a:ext uri="{FF2B5EF4-FFF2-40B4-BE49-F238E27FC236}">
                <a16:creationId xmlns:a16="http://schemas.microsoft.com/office/drawing/2014/main" id="{5345BADF-85DA-07A8-BC7D-69196DF6265F}"/>
              </a:ext>
              <a:ext uri="{C183D7F6-B498-43B3-948B-1728B52AA6E4}">
                <adec:decorative xmlns:adec="http://schemas.microsoft.com/office/drawing/2017/decorative" val="1"/>
              </a:ext>
            </a:extLst>
          </p:cNvPr>
          <p:cNvGrpSpPr/>
          <p:nvPr/>
        </p:nvGrpSpPr>
        <p:grpSpPr>
          <a:xfrm>
            <a:off x="8429436" y="2264392"/>
            <a:ext cx="991344" cy="991341"/>
            <a:chOff x="3031090" y="2734209"/>
            <a:chExt cx="752625" cy="752623"/>
          </a:xfrm>
        </p:grpSpPr>
        <p:sp>
          <p:nvSpPr>
            <p:cNvPr id="20" name="Oval 19">
              <a:extLst>
                <a:ext uri="{FF2B5EF4-FFF2-40B4-BE49-F238E27FC236}">
                  <a16:creationId xmlns:a16="http://schemas.microsoft.com/office/drawing/2014/main" id="{A20F03FE-698A-2798-ECC8-C2441B103678}"/>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3BD43529-5B22-E69C-C829-107E70031CE8}"/>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19" name="Graphic 18">
            <a:extLst>
              <a:ext uri="{FF2B5EF4-FFF2-40B4-BE49-F238E27FC236}">
                <a16:creationId xmlns:a16="http://schemas.microsoft.com/office/drawing/2014/main" id="{C716BC73-BE79-73C2-23D4-3C5D5B017E4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50260" y="2473360"/>
            <a:ext cx="549697" cy="549697"/>
          </a:xfrm>
          <a:prstGeom prst="rect">
            <a:avLst/>
          </a:prstGeom>
        </p:spPr>
      </p:pic>
      <p:sp>
        <p:nvSpPr>
          <p:cNvPr id="15" name="TextBox 14">
            <a:extLst>
              <a:ext uri="{FF2B5EF4-FFF2-40B4-BE49-F238E27FC236}">
                <a16:creationId xmlns:a16="http://schemas.microsoft.com/office/drawing/2014/main" id="{C37AAB58-32C3-AE0E-EE8D-36A02292B2BB}"/>
              </a:ext>
            </a:extLst>
          </p:cNvPr>
          <p:cNvSpPr txBox="1"/>
          <p:nvPr/>
        </p:nvSpPr>
        <p:spPr>
          <a:xfrm>
            <a:off x="775462" y="2671976"/>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dividual</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16" name="TextBox 15">
            <a:extLst>
              <a:ext uri="{FF2B5EF4-FFF2-40B4-BE49-F238E27FC236}">
                <a16:creationId xmlns:a16="http://schemas.microsoft.com/office/drawing/2014/main" id="{CD0F1DFE-3F23-D03E-B2C9-B578A3136531}"/>
              </a:ext>
            </a:extLst>
          </p:cNvPr>
          <p:cNvSpPr txBox="1"/>
          <p:nvPr/>
        </p:nvSpPr>
        <p:spPr>
          <a:xfrm>
            <a:off x="10183129" y="2671976"/>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30" name="TextBox 29">
            <a:extLst>
              <a:ext uri="{FF2B5EF4-FFF2-40B4-BE49-F238E27FC236}">
                <a16:creationId xmlns:a16="http://schemas.microsoft.com/office/drawing/2014/main" id="{D1816D28-8EB1-0F0C-7279-34A6BD18B401}"/>
              </a:ext>
            </a:extLst>
          </p:cNvPr>
          <p:cNvSpPr txBox="1"/>
          <p:nvPr/>
        </p:nvSpPr>
        <p:spPr>
          <a:xfrm>
            <a:off x="2190182" y="3407999"/>
            <a:ext cx="2072092" cy="36933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D043A0"/>
                </a:solidFill>
                <a:effectLst/>
                <a:uLnTx/>
                <a:uFillTx/>
                <a:latin typeface="Segoe UI Semibold"/>
                <a:ea typeface="+mn-ea"/>
                <a:cs typeface="Segoe UI Semibold"/>
              </a:rPr>
              <a:t>End Users</a:t>
            </a:r>
          </a:p>
        </p:txBody>
      </p:sp>
      <p:pic>
        <p:nvPicPr>
          <p:cNvPr id="14" name="Picture 2" descr="M365 copilot logo">
            <a:extLst>
              <a:ext uri="{FF2B5EF4-FFF2-40B4-BE49-F238E27FC236}">
                <a16:creationId xmlns:a16="http://schemas.microsoft.com/office/drawing/2014/main" id="{DA5A5546-802C-7245-BBF6-D6544A52414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68800" y="3940200"/>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5 Sharepoint Icons - Free in SVG, PNG, ICO - IconScout">
            <a:extLst>
              <a:ext uri="{FF2B5EF4-FFF2-40B4-BE49-F238E27FC236}">
                <a16:creationId xmlns:a16="http://schemas.microsoft.com/office/drawing/2014/main" id="{E3337D70-C613-B450-6C39-85AA5CD7CE5B}"/>
              </a:ext>
            </a:extLst>
          </p:cNvPr>
          <p:cNvPicPr>
            <a:picLocks noChangeAspect="1"/>
          </p:cNvPicPr>
          <p:nvPr/>
        </p:nvPicPr>
        <p:blipFill>
          <a:blip r:embed="rId10"/>
          <a:stretch>
            <a:fillRect/>
          </a:stretch>
        </p:blipFill>
        <p:spPr>
          <a:xfrm>
            <a:off x="3385071" y="3942221"/>
            <a:ext cx="371475" cy="371475"/>
          </a:xfrm>
          <a:prstGeom prst="rect">
            <a:avLst/>
          </a:prstGeom>
        </p:spPr>
      </p:pic>
      <p:sp>
        <p:nvSpPr>
          <p:cNvPr id="66" name="TextBox 65">
            <a:extLst>
              <a:ext uri="{FF2B5EF4-FFF2-40B4-BE49-F238E27FC236}">
                <a16:creationId xmlns:a16="http://schemas.microsoft.com/office/drawing/2014/main" id="{DB660241-47D2-EA63-B7B9-958DFB6B6386}"/>
              </a:ext>
            </a:extLst>
          </p:cNvPr>
          <p:cNvSpPr txBox="1">
            <a:spLocks/>
          </p:cNvSpPr>
          <p:nvPr/>
        </p:nvSpPr>
        <p:spPr>
          <a:xfrm>
            <a:off x="2163303" y="4479788"/>
            <a:ext cx="2206113"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IT restricts makers to personal agents with read-only access based on content permissions</a:t>
            </a:r>
          </a:p>
        </p:txBody>
      </p:sp>
      <p:sp>
        <p:nvSpPr>
          <p:cNvPr id="32" name="TextBox 31">
            <a:extLst>
              <a:ext uri="{FF2B5EF4-FFF2-40B4-BE49-F238E27FC236}">
                <a16:creationId xmlns:a16="http://schemas.microsoft.com/office/drawing/2014/main" id="{88BB76F1-329F-7DAC-9C7C-DE6B08E80EDC}"/>
              </a:ext>
            </a:extLst>
          </p:cNvPr>
          <p:cNvSpPr txBox="1"/>
          <p:nvPr/>
        </p:nvSpPr>
        <p:spPr>
          <a:xfrm>
            <a:off x="4937637" y="3423669"/>
            <a:ext cx="2309880" cy="36933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595CCD"/>
                </a:solidFill>
                <a:effectLst/>
                <a:uLnTx/>
                <a:uFillTx/>
                <a:latin typeface="Segoe UI Semibold"/>
                <a:ea typeface="+mn-ea"/>
                <a:cs typeface="Segoe UI Semibold"/>
              </a:rPr>
              <a:t>Makers</a:t>
            </a:r>
          </a:p>
        </p:txBody>
      </p:sp>
      <p:pic>
        <p:nvPicPr>
          <p:cNvPr id="35" name="Picture 2" descr="M365 copilot logo">
            <a:extLst>
              <a:ext uri="{FF2B5EF4-FFF2-40B4-BE49-F238E27FC236}">
                <a16:creationId xmlns:a16="http://schemas.microsoft.com/office/drawing/2014/main" id="{7508D98B-9AA6-FEE7-132B-2F7B9631262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99087" y="3925641"/>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Copilot Studio: Øk produktiviteten i bedriften | Puzzlepart">
            <a:extLst>
              <a:ext uri="{FF2B5EF4-FFF2-40B4-BE49-F238E27FC236}">
                <a16:creationId xmlns:a16="http://schemas.microsoft.com/office/drawing/2014/main" id="{D273C798-70D4-EAC2-4195-FAB40895B17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84713" y="3940201"/>
            <a:ext cx="408670" cy="365760"/>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65" name="TextBox 64">
            <a:extLst>
              <a:ext uri="{FF2B5EF4-FFF2-40B4-BE49-F238E27FC236}">
                <a16:creationId xmlns:a16="http://schemas.microsoft.com/office/drawing/2014/main" id="{49333FD1-0B8E-C1A9-C385-38395701C023}"/>
              </a:ext>
            </a:extLst>
          </p:cNvPr>
          <p:cNvSpPr txBox="1">
            <a:spLocks/>
          </p:cNvSpPr>
          <p:nvPr/>
        </p:nvSpPr>
        <p:spPr>
          <a:xfrm>
            <a:off x="4955480" y="4479587"/>
            <a:ext cx="2283334"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IT-approved makers build agents in secure, IT-managed environments and deploy them department-wid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686E1B9B-636E-FF3A-AE2B-81BE0ABF10D0}"/>
              </a:ext>
            </a:extLst>
          </p:cNvPr>
          <p:cNvSpPr txBox="1"/>
          <p:nvPr/>
        </p:nvSpPr>
        <p:spPr>
          <a:xfrm>
            <a:off x="7712222" y="3434276"/>
            <a:ext cx="2425771" cy="36933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D8ECF"/>
                </a:solidFill>
                <a:effectLst/>
                <a:uLnTx/>
                <a:uFillTx/>
                <a:latin typeface="Segoe UI Semibold"/>
                <a:ea typeface="+mn-ea"/>
                <a:cs typeface="Segoe UI Semibold"/>
              </a:rPr>
              <a:t>Developer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7" name="Picture 4" descr="Copilot Studio: Øk produktiviteten i bedriften | Puzzlepart">
            <a:extLst>
              <a:ext uri="{FF2B5EF4-FFF2-40B4-BE49-F238E27FC236}">
                <a16:creationId xmlns:a16="http://schemas.microsoft.com/office/drawing/2014/main" id="{E662D703-25C8-79CD-EC68-73DF6AE78D8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47777" y="3940465"/>
            <a:ext cx="408670" cy="36576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46" name="Azure icon" descr="Azure logo">
            <a:extLst>
              <a:ext uri="{FF2B5EF4-FFF2-40B4-BE49-F238E27FC236}">
                <a16:creationId xmlns:a16="http://schemas.microsoft.com/office/drawing/2014/main" id="{FE8F2674-B977-386D-B586-E4F702D8D4AF}"/>
              </a:ext>
            </a:extLst>
          </p:cNvPr>
          <p:cNvPicPr>
            <a:picLocks noChangeAspect="1"/>
          </p:cNvPicPr>
          <p:nvPr/>
        </p:nvPicPr>
        <p:blipFill>
          <a:blip r:embed="rId12"/>
          <a:stretch>
            <a:fillRect/>
          </a:stretch>
        </p:blipFill>
        <p:spPr>
          <a:xfrm>
            <a:off x="9052787" y="3937984"/>
            <a:ext cx="365760" cy="365760"/>
          </a:xfrm>
          <a:prstGeom prst="rect">
            <a:avLst/>
          </a:prstGeom>
          <a:ln w="7441" cap="flat">
            <a:noFill/>
            <a:prstDash val="solid"/>
            <a:miter/>
          </a:ln>
          <a:effectLst>
            <a:outerShdw blurRad="50800" dist="38100" dir="5400000" algn="t" rotWithShape="0">
              <a:prstClr val="black">
                <a:alpha val="40000"/>
              </a:prstClr>
            </a:outerShdw>
          </a:effectLst>
        </p:spPr>
      </p:pic>
      <p:sp>
        <p:nvSpPr>
          <p:cNvPr id="67" name="TextBox 66">
            <a:extLst>
              <a:ext uri="{FF2B5EF4-FFF2-40B4-BE49-F238E27FC236}">
                <a16:creationId xmlns:a16="http://schemas.microsoft.com/office/drawing/2014/main" id="{04BCA4FC-DA59-112F-6FF6-9B50E18431F0}"/>
              </a:ext>
            </a:extLst>
          </p:cNvPr>
          <p:cNvSpPr txBox="1">
            <a:spLocks/>
          </p:cNvSpPr>
          <p:nvPr/>
        </p:nvSpPr>
        <p:spPr>
          <a:xfrm>
            <a:off x="7869815" y="4479810"/>
            <a:ext cx="2115334"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Pro developers build and deploy enterprise-grade agents with org-standard ALM</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Rectangle: Rounded Corners 38">
            <a:extLst>
              <a:ext uri="{FF2B5EF4-FFF2-40B4-BE49-F238E27FC236}">
                <a16:creationId xmlns:a16="http://schemas.microsoft.com/office/drawing/2014/main" id="{276CBE7A-6B9E-ADFB-5F16-E602EF11E0A9}"/>
              </a:ext>
            </a:extLst>
          </p:cNvPr>
          <p:cNvSpPr>
            <a:spLocks/>
          </p:cNvSpPr>
          <p:nvPr/>
        </p:nvSpPr>
        <p:spPr bwMode="auto">
          <a:xfrm>
            <a:off x="583593" y="5526240"/>
            <a:ext cx="11032653" cy="476071"/>
          </a:xfrm>
          <a:prstGeom prst="roundRect">
            <a:avLst>
              <a:gd name="adj" fmla="val 500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Data protection, agent sharing &amp; usage limits, and reporting &amp; cost management</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018BC003-275B-B479-9E30-7AA6C914678B}"/>
              </a:ext>
              <a:ext uri="{C183D7F6-B498-43B3-948B-1728B52AA6E4}">
                <adec:decorative xmlns:adec="http://schemas.microsoft.com/office/drawing/2017/decorative" val="1"/>
              </a:ext>
            </a:extLst>
          </p:cNvPr>
          <p:cNvCxnSpPr>
            <a:cxnSpLocks/>
          </p:cNvCxnSpPr>
          <p:nvPr/>
        </p:nvCxnSpPr>
        <p:spPr>
          <a:xfrm>
            <a:off x="2214970"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D69F6F4-5B78-3D53-61BF-4576C3436129}"/>
              </a:ext>
              <a:ext uri="{C183D7F6-B498-43B3-948B-1728B52AA6E4}">
                <adec:decorative xmlns:adec="http://schemas.microsoft.com/office/drawing/2017/decorative" val="1"/>
              </a:ext>
            </a:extLst>
          </p:cNvPr>
          <p:cNvCxnSpPr>
            <a:cxnSpLocks/>
          </p:cNvCxnSpPr>
          <p:nvPr/>
        </p:nvCxnSpPr>
        <p:spPr>
          <a:xfrm>
            <a:off x="5044440" y="4415607"/>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238A9F-3F17-79F3-D7D4-0E4E815366BF}"/>
              </a:ext>
              <a:ext uri="{C183D7F6-B498-43B3-948B-1728B52AA6E4}">
                <adec:decorative xmlns:adec="http://schemas.microsoft.com/office/drawing/2017/decorative" val="1"/>
              </a:ext>
            </a:extLst>
          </p:cNvPr>
          <p:cNvCxnSpPr>
            <a:cxnSpLocks/>
          </p:cNvCxnSpPr>
          <p:nvPr/>
        </p:nvCxnSpPr>
        <p:spPr>
          <a:xfrm>
            <a:off x="7877255"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56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barn(outVertical)">
                                      <p:cBhvr>
                                        <p:cTn id="7" dur="500"/>
                                        <p:tgtEl>
                                          <p:spTgt spid="39"/>
                                        </p:tgtEl>
                                      </p:cBhvr>
                                    </p:animEffect>
                                  </p:childTnLst>
                                </p:cTn>
                              </p:par>
                              <p:par>
                                <p:cTn id="8" presetID="16" presetClass="entr" presetSubtype="37"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barn(outVertical)">
                                      <p:cBhvr>
                                        <p:cTn id="10" dur="500"/>
                                        <p:tgtEl>
                                          <p:spTgt spid="40"/>
                                        </p:tgtEl>
                                      </p:cBhvr>
                                    </p:animEffect>
                                  </p:childTnLst>
                                </p:cTn>
                              </p:par>
                              <p:par>
                                <p:cTn id="11" presetID="16" presetClass="entr" presetSubtype="37"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barn(outVertical)">
                                      <p:cBhvr>
                                        <p:cTn id="1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5C59E-0D7C-E449-ABBD-BAE09DD42A3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4641BB0-D47C-51BB-D7FC-F651B173E82A}"/>
              </a:ext>
            </a:extLst>
          </p:cNvPr>
          <p:cNvSpPr>
            <a:spLocks noGrp="1"/>
          </p:cNvSpPr>
          <p:nvPr>
            <p:ph type="title"/>
          </p:nvPr>
        </p:nvSpPr>
        <p:spPr>
          <a:xfrm>
            <a:off x="586740" y="202844"/>
            <a:ext cx="11018520" cy="492443"/>
          </a:xfrm>
        </p:spPr>
        <p:txBody>
          <a:bodyPr>
            <a:normAutofit/>
          </a:bodyPr>
          <a:lstStyle/>
          <a:p>
            <a:pPr algn="ctr"/>
            <a:r>
              <a:rPr lang="en-US" sz="3200">
                <a:latin typeface="Segoe UI Semibold"/>
                <a:cs typeface="Segoe UI Semibold"/>
              </a:rPr>
              <a:t>Agents security, governance, and operations</a:t>
            </a:r>
          </a:p>
        </p:txBody>
      </p:sp>
      <p:graphicFrame>
        <p:nvGraphicFramePr>
          <p:cNvPr id="16" name="Table 15">
            <a:extLst>
              <a:ext uri="{FF2B5EF4-FFF2-40B4-BE49-F238E27FC236}">
                <a16:creationId xmlns:a16="http://schemas.microsoft.com/office/drawing/2014/main" id="{00584F78-230A-EB8A-3FDA-BBA5CC164E38}"/>
              </a:ext>
            </a:extLst>
          </p:cNvPr>
          <p:cNvGraphicFramePr>
            <a:graphicFrameLocks noGrp="1"/>
          </p:cNvGraphicFramePr>
          <p:nvPr/>
        </p:nvGraphicFramePr>
        <p:xfrm>
          <a:off x="279657" y="1484878"/>
          <a:ext cx="11486892" cy="5080897"/>
        </p:xfrm>
        <a:graphic>
          <a:graphicData uri="http://schemas.openxmlformats.org/drawingml/2006/table">
            <a:tbl>
              <a:tblPr firstRow="1" bandRow="1"/>
              <a:tblGrid>
                <a:gridCol w="2155521">
                  <a:extLst>
                    <a:ext uri="{9D8B030D-6E8A-4147-A177-3AD203B41FA5}">
                      <a16:colId xmlns:a16="http://schemas.microsoft.com/office/drawing/2014/main" val="1090453245"/>
                    </a:ext>
                  </a:extLst>
                </a:gridCol>
                <a:gridCol w="3005777">
                  <a:extLst>
                    <a:ext uri="{9D8B030D-6E8A-4147-A177-3AD203B41FA5}">
                      <a16:colId xmlns:a16="http://schemas.microsoft.com/office/drawing/2014/main" val="3427318786"/>
                    </a:ext>
                  </a:extLst>
                </a:gridCol>
                <a:gridCol w="3280465">
                  <a:extLst>
                    <a:ext uri="{9D8B030D-6E8A-4147-A177-3AD203B41FA5}">
                      <a16:colId xmlns:a16="http://schemas.microsoft.com/office/drawing/2014/main" val="4168070559"/>
                    </a:ext>
                  </a:extLst>
                </a:gridCol>
                <a:gridCol w="3045129">
                  <a:extLst>
                    <a:ext uri="{9D8B030D-6E8A-4147-A177-3AD203B41FA5}">
                      <a16:colId xmlns:a16="http://schemas.microsoft.com/office/drawing/2014/main" val="3817264551"/>
                    </a:ext>
                  </a:extLst>
                </a:gridCol>
              </a:tblGrid>
              <a:tr h="1335415">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lnSpc>
                          <a:spcPct val="100000"/>
                        </a:lnSpc>
                        <a:spcBef>
                          <a:spcPts val="0"/>
                        </a:spcBef>
                        <a:spcAft>
                          <a:spcPts val="0"/>
                        </a:spcAft>
                        <a:buNone/>
                      </a:pPr>
                      <a:r>
                        <a:rPr lang="en-US" sz="1400" b="0" i="0" u="none" strike="noStrike" kern="1200" cap="none" spc="0" normalizeH="0" baseline="0" noProof="0">
                          <a:ln>
                            <a:noFill/>
                          </a:ln>
                          <a:solidFill>
                            <a:srgbClr val="000000"/>
                          </a:solidFill>
                          <a:effectLst/>
                          <a:uLnTx/>
                          <a:uFillTx/>
                          <a:latin typeface="Segoe UI"/>
                        </a:rPr>
                        <a:t>Agents in the full DIY zone, zone 1, mean the citizen developer is responsible for the entire management lifecycle</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noProof="0">
                          <a:ln>
                            <a:noFill/>
                          </a:ln>
                          <a:solidFill>
                            <a:srgbClr val="000000"/>
                          </a:solidFill>
                          <a:effectLst/>
                          <a:uLnTx/>
                          <a:uFillTx/>
                          <a:latin typeface="Segoe UI"/>
                        </a:rPr>
                        <a:t>Agents in the partnered DIY zone require formal assistance and oversight from a DIY coach, but are built by trained citizen developers</a:t>
                      </a:r>
                      <a:endParaRPr kumimoji="0" lang="en-US" sz="1400"/>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noProof="0">
                          <a:ln>
                            <a:noFill/>
                          </a:ln>
                          <a:solidFill>
                            <a:srgbClr val="000000"/>
                          </a:solidFill>
                          <a:effectLst/>
                          <a:uLnTx/>
                          <a:uFillTx/>
                          <a:latin typeface="Segoe UI"/>
                        </a:rPr>
                        <a:t>Large, potentially risky agents in the professional development zone are reserved for pro dev &amp; IT-led development only</a:t>
                      </a:r>
                      <a:endParaRPr kumimoji="0" lang="en-US" sz="1400"/>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866590978"/>
                  </a:ext>
                </a:extLst>
              </a:tr>
              <a:tr h="1248494">
                <a:tc>
                  <a:txBody>
                    <a:bodyPr/>
                    <a:lstStyle/>
                    <a:p>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Control access to Graph, SharePoint, and web data only in Microsoft Admin Center</a:t>
                      </a:r>
                    </a:p>
                    <a:p>
                      <a:pPr lvl="0" algn="ctr">
                        <a:buNone/>
                      </a:pPr>
                      <a:r>
                        <a:rPr lang="en-US" sz="1400" i="0" u="none" strike="noStrike" kern="1200" cap="none" spc="0" normalizeH="0" baseline="0">
                          <a:ln>
                            <a:noFill/>
                          </a:ln>
                          <a:solidFill>
                            <a:schemeClr val="tx1"/>
                          </a:solidFill>
                          <a:effectLst/>
                          <a:uLnTx/>
                          <a:uFillTx/>
                          <a:latin typeface="+mn-lt"/>
                          <a:ea typeface="+mn-ea"/>
                          <a:cs typeface="+mn-cs"/>
                        </a:rPr>
                        <a:t>Roll-based access controls</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Enable DLP policies in Power Platform Admin Center</a:t>
                      </a:r>
                      <a:endParaRPr kumimoji="0" lang="en-US" sz="1400" i="0" u="none" strike="noStrike" kern="1200" cap="none" spc="0" normalizeH="0" baseline="0">
                        <a:ln>
                          <a:noFill/>
                        </a:ln>
                        <a:solidFill>
                          <a:schemeClr val="tx1"/>
                        </a:solidFill>
                        <a:effectLst/>
                        <a:uLnTx/>
                        <a:uFillTx/>
                        <a:latin typeface="+mn-lt"/>
                        <a:ea typeface="+mn-ea"/>
                        <a:cs typeface="+mn-cs"/>
                      </a:endParaRP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b="0" i="0" u="none" strike="noStrike" kern="1200" cap="none" spc="0" normalizeH="0" baseline="0">
                          <a:ln>
                            <a:noFill/>
                          </a:ln>
                          <a:solidFill>
                            <a:schemeClr val="tx1"/>
                          </a:solidFill>
                          <a:effectLst/>
                          <a:uLnTx/>
                          <a:uFillTx/>
                          <a:latin typeface="+mn-lt"/>
                          <a:ea typeface="+mn-ea"/>
                          <a:cs typeface="+mn-cs"/>
                        </a:rPr>
                        <a:t>DLP policies enabled in Microsoft Purview</a:t>
                      </a:r>
                      <a:endParaRPr kumimoji="0" lang="en-US" sz="1400" b="0" i="0" u="none" strike="noStrike" kern="1200" cap="none" spc="0" normalizeH="0" baseline="0">
                        <a:ln>
                          <a:noFill/>
                        </a:ln>
                        <a:solidFill>
                          <a:schemeClr val="tx1"/>
                        </a:solidFill>
                        <a:effectLst/>
                        <a:uLnTx/>
                        <a:uFillTx/>
                        <a:latin typeface="+mn-lt"/>
                        <a:ea typeface="+mn-ea"/>
                        <a:cs typeface="+mn-cs"/>
                      </a:endParaRP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496267"/>
                  </a:ext>
                </a:extLst>
              </a:tr>
              <a:tr h="1248494">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Disable agent sharing for citizen developer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Dedicated citizen developer environments</a:t>
                      </a:r>
                    </a:p>
                    <a:p>
                      <a:pPr lvl="0" algn="ctr">
                        <a:buNone/>
                      </a:pPr>
                      <a:r>
                        <a:rPr lang="en-US" sz="1400" i="0" u="none" strike="noStrike" kern="1200" cap="none" spc="0" normalizeH="0" baseline="0">
                          <a:ln>
                            <a:noFill/>
                          </a:ln>
                          <a:solidFill>
                            <a:schemeClr val="tx1"/>
                          </a:solidFill>
                          <a:effectLst/>
                          <a:uLnTx/>
                          <a:uFillTx/>
                          <a:latin typeface="+mn-lt"/>
                          <a:ea typeface="+mn-ea"/>
                          <a:cs typeface="+mn-cs"/>
                        </a:rPr>
                        <a:t>Enable ALM in Power Platform Admin Center</a:t>
                      </a:r>
                    </a:p>
                    <a:p>
                      <a:pPr lvl="0" algn="ctr">
                        <a:buNone/>
                      </a:pPr>
                      <a:r>
                        <a:rPr lang="en-US" sz="1400" i="0" u="none" strike="noStrike" kern="1200" cap="none" spc="0" normalizeH="0" baseline="0">
                          <a:ln>
                            <a:noFill/>
                          </a:ln>
                          <a:solidFill>
                            <a:schemeClr val="tx1"/>
                          </a:solidFill>
                          <a:effectLst/>
                          <a:uLnTx/>
                          <a:uFillTx/>
                          <a:latin typeface="+mn-lt"/>
                          <a:ea typeface="+mn-ea"/>
                          <a:cs typeface="+mn-cs"/>
                        </a:rPr>
                        <a:t>IT-admin approval to publish agent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a:ln>
                            <a:noFill/>
                          </a:ln>
                          <a:solidFill>
                            <a:schemeClr val="tx1"/>
                          </a:solidFill>
                          <a:effectLst/>
                          <a:uLnTx/>
                          <a:uFillTx/>
                          <a:latin typeface="+mn-lt"/>
                          <a:ea typeface="+mn-ea"/>
                          <a:cs typeface="+mn-cs"/>
                        </a:rPr>
                        <a:t>Manage sharing via Integrated Apps in Microsoft Admin Center</a:t>
                      </a: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17177088"/>
                  </a:ext>
                </a:extLst>
              </a:tr>
              <a:tr h="1248494">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Review agent usage in Microsoft Admin Center Integrated Apps</a:t>
                      </a:r>
                    </a:p>
                  </a:txBody>
                  <a:tcPr anchor="ctr">
                    <a:lnL w="0">
                      <a:noFill/>
                    </a:lnL>
                    <a:lnR w="0">
                      <a:noFill/>
                    </a:lnR>
                    <a:lnT w="0">
                      <a:noFill/>
                    </a:lnT>
                    <a:lnB w="0">
                      <a:noFill/>
                    </a:lnB>
                    <a:lnTlToBr w="0">
                      <a:noFill/>
                    </a:lnTlToBr>
                    <a:lnBlToTr w="0">
                      <a:noFill/>
                    </a:lnBlToTr>
                    <a:noFill/>
                  </a:tcPr>
                </a:tc>
                <a:tc gridSpan="2">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Track agent usage and security posture in Microsoft Admin Center, Microsoft Purview, and Power Platform Admin Center</a:t>
                      </a:r>
                      <a:endParaRPr kumimoji="0" lang="en-US" sz="1400" i="0" u="none" strike="noStrike" kern="1200" cap="none" spc="0" normalizeH="0" baseline="0">
                        <a:ln>
                          <a:noFill/>
                        </a:ln>
                        <a:solidFill>
                          <a:schemeClr val="tx1"/>
                        </a:solidFill>
                        <a:effectLst/>
                        <a:uLnTx/>
                        <a:uFillTx/>
                        <a:latin typeface="+mn-lt"/>
                        <a:ea typeface="+mn-ea"/>
                        <a:cs typeface="+mn-cs"/>
                      </a:endParaRPr>
                    </a:p>
                  </a:txBody>
                  <a:tcPr anchor="ctr">
                    <a:lnL w="0">
                      <a:noFill/>
                    </a:lnL>
                    <a:lnR w="0">
                      <a:noFill/>
                    </a:lnR>
                    <a:lnT w="0">
                      <a:noFill/>
                    </a:lnT>
                    <a:lnB w="0">
                      <a:noFill/>
                    </a:lnB>
                    <a:lnTlToBr w="0">
                      <a:noFill/>
                    </a:lnTlToBr>
                    <a:lnBlToTr w="0">
                      <a:noFill/>
                    </a:lnBlToTr>
                    <a:noFill/>
                  </a:tcPr>
                </a:tc>
                <a:tc hMerge="1">
                  <a:txBody>
                    <a:bodyPr/>
                    <a:lstStyle/>
                    <a:p>
                      <a:endParaRPr kumimoji="0" lang="en-US"/>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023397196"/>
                  </a:ext>
                </a:extLst>
              </a:tr>
            </a:tbl>
          </a:graphicData>
        </a:graphic>
      </p:graphicFrame>
      <p:sp>
        <p:nvSpPr>
          <p:cNvPr id="55" name="Rectangle: Rounded Corners 54">
            <a:extLst>
              <a:ext uri="{FF2B5EF4-FFF2-40B4-BE49-F238E27FC236}">
                <a16:creationId xmlns:a16="http://schemas.microsoft.com/office/drawing/2014/main" id="{E750B381-B017-1B27-01D0-5A4E2774528E}"/>
              </a:ext>
              <a:ext uri="{C183D7F6-B498-43B3-948B-1728B52AA6E4}">
                <adec:decorative xmlns:adec="http://schemas.microsoft.com/office/drawing/2017/decorative" val="1"/>
              </a:ext>
            </a:extLst>
          </p:cNvPr>
          <p:cNvSpPr>
            <a:spLocks/>
          </p:cNvSpPr>
          <p:nvPr/>
        </p:nvSpPr>
        <p:spPr bwMode="auto">
          <a:xfrm>
            <a:off x="308664" y="833656"/>
            <a:ext cx="11571171" cy="5759245"/>
          </a:xfrm>
          <a:prstGeom prst="roundRect">
            <a:avLst>
              <a:gd name="adj" fmla="val 3061"/>
            </a:avLst>
          </a:prstGeom>
          <a:solidFill>
            <a:schemeClr val="bg1"/>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grpSp>
        <p:nvGrpSpPr>
          <p:cNvPr id="6" name="Group 5">
            <a:extLst>
              <a:ext uri="{FF2B5EF4-FFF2-40B4-BE49-F238E27FC236}">
                <a16:creationId xmlns:a16="http://schemas.microsoft.com/office/drawing/2014/main" id="{A6B2B799-2975-C980-155F-98B693B21525}"/>
              </a:ext>
              <a:ext uri="{C183D7F6-B498-43B3-948B-1728B52AA6E4}">
                <adec:decorative xmlns:adec="http://schemas.microsoft.com/office/drawing/2017/decorative" val="1"/>
              </a:ext>
            </a:extLst>
          </p:cNvPr>
          <p:cNvGrpSpPr/>
          <p:nvPr/>
        </p:nvGrpSpPr>
        <p:grpSpPr>
          <a:xfrm>
            <a:off x="406637" y="1520831"/>
            <a:ext cx="11359913" cy="4964491"/>
            <a:chOff x="406637" y="1520832"/>
            <a:chExt cx="11331295" cy="4994236"/>
          </a:xfrm>
        </p:grpSpPr>
        <p:sp>
          <p:nvSpPr>
            <p:cNvPr id="4" name="Rectangle 3">
              <a:extLst>
                <a:ext uri="{FF2B5EF4-FFF2-40B4-BE49-F238E27FC236}">
                  <a16:creationId xmlns:a16="http://schemas.microsoft.com/office/drawing/2014/main" id="{B860CFE0-8DC3-5152-7E42-D6E8511B268E}"/>
                </a:ext>
              </a:extLst>
            </p:cNvPr>
            <p:cNvSpPr/>
            <p:nvPr/>
          </p:nvSpPr>
          <p:spPr bwMode="auto">
            <a:xfrm>
              <a:off x="406638" y="4100969"/>
              <a:ext cx="11331294" cy="1262102"/>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77CE1B61-A05E-54A7-291C-5E45306AC456}"/>
                </a:ext>
              </a:extLst>
            </p:cNvPr>
            <p:cNvSpPr/>
            <p:nvPr/>
          </p:nvSpPr>
          <p:spPr bwMode="auto">
            <a:xfrm>
              <a:off x="406637" y="1520832"/>
              <a:ext cx="11331294" cy="1299005"/>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FEBE2EF0-AAF2-B9FD-6A78-5528FDE0CDEC}"/>
                </a:ext>
              </a:extLst>
            </p:cNvPr>
            <p:cNvSpPr/>
            <p:nvPr/>
          </p:nvSpPr>
          <p:spPr bwMode="auto">
            <a:xfrm>
              <a:off x="406637" y="2836732"/>
              <a:ext cx="11331294" cy="1262102"/>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A1400CCD-6A89-DF80-FD98-74B3A7304411}"/>
                </a:ext>
              </a:extLst>
            </p:cNvPr>
            <p:cNvSpPr/>
            <p:nvPr/>
          </p:nvSpPr>
          <p:spPr bwMode="auto">
            <a:xfrm>
              <a:off x="406637" y="5378437"/>
              <a:ext cx="11331294" cy="1136631"/>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32" name="Rounded Rectangle 70">
            <a:extLst>
              <a:ext uri="{FF2B5EF4-FFF2-40B4-BE49-F238E27FC236}">
                <a16:creationId xmlns:a16="http://schemas.microsoft.com/office/drawing/2014/main" id="{E5AEDF27-5FA9-6825-36C9-DBE3057F07F9}"/>
              </a:ext>
              <a:ext uri="{C183D7F6-B498-43B3-948B-1728B52AA6E4}">
                <adec:decorative xmlns:adec="http://schemas.microsoft.com/office/drawing/2017/decorative" val="1"/>
              </a:ext>
            </a:extLst>
          </p:cNvPr>
          <p:cNvSpPr/>
          <p:nvPr/>
        </p:nvSpPr>
        <p:spPr bwMode="auto">
          <a:xfrm>
            <a:off x="557296" y="3274564"/>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Secur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Rounded Rectangle 70">
            <a:extLst>
              <a:ext uri="{FF2B5EF4-FFF2-40B4-BE49-F238E27FC236}">
                <a16:creationId xmlns:a16="http://schemas.microsoft.com/office/drawing/2014/main" id="{BF023B6E-5C7B-76DB-B002-DA1E98A29425}"/>
              </a:ext>
              <a:ext uri="{C183D7F6-B498-43B3-948B-1728B52AA6E4}">
                <adec:decorative xmlns:adec="http://schemas.microsoft.com/office/drawing/2017/decorative" val="1"/>
              </a:ext>
            </a:extLst>
          </p:cNvPr>
          <p:cNvSpPr/>
          <p:nvPr/>
        </p:nvSpPr>
        <p:spPr bwMode="auto">
          <a:xfrm>
            <a:off x="550357" y="4566757"/>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Govern</a:t>
            </a:r>
          </a:p>
        </p:txBody>
      </p:sp>
      <p:sp>
        <p:nvSpPr>
          <p:cNvPr id="35" name="Rounded Rectangle 70">
            <a:extLst>
              <a:ext uri="{FF2B5EF4-FFF2-40B4-BE49-F238E27FC236}">
                <a16:creationId xmlns:a16="http://schemas.microsoft.com/office/drawing/2014/main" id="{48865010-874C-34F0-72DC-F68CE04020E8}"/>
              </a:ext>
              <a:ext uri="{C183D7F6-B498-43B3-948B-1728B52AA6E4}">
                <adec:decorative xmlns:adec="http://schemas.microsoft.com/office/drawing/2017/decorative" val="1"/>
              </a:ext>
            </a:extLst>
          </p:cNvPr>
          <p:cNvSpPr/>
          <p:nvPr/>
        </p:nvSpPr>
        <p:spPr bwMode="auto">
          <a:xfrm>
            <a:off x="549999" y="5795259"/>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Monitor</a:t>
            </a:r>
          </a:p>
        </p:txBody>
      </p:sp>
      <p:sp>
        <p:nvSpPr>
          <p:cNvPr id="3" name="Rounded Rectangle 70">
            <a:extLst>
              <a:ext uri="{FF2B5EF4-FFF2-40B4-BE49-F238E27FC236}">
                <a16:creationId xmlns:a16="http://schemas.microsoft.com/office/drawing/2014/main" id="{3B368020-276D-4CB5-B8B7-988D26A3AE95}"/>
              </a:ext>
              <a:ext uri="{C183D7F6-B498-43B3-948B-1728B52AA6E4}">
                <adec:decorative xmlns:adec="http://schemas.microsoft.com/office/drawing/2017/decorative" val="1"/>
              </a:ext>
            </a:extLst>
          </p:cNvPr>
          <p:cNvSpPr/>
          <p:nvPr/>
        </p:nvSpPr>
        <p:spPr bwMode="auto">
          <a:xfrm>
            <a:off x="549274" y="1982939"/>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Semibold"/>
              </a:rPr>
              <a:t>Purpos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aphicFrame>
        <p:nvGraphicFramePr>
          <p:cNvPr id="31" name="Table 30">
            <a:extLst>
              <a:ext uri="{FF2B5EF4-FFF2-40B4-BE49-F238E27FC236}">
                <a16:creationId xmlns:a16="http://schemas.microsoft.com/office/drawing/2014/main" id="{D1948EBB-A8DA-D60E-B657-07EC9B6604EF}"/>
              </a:ext>
            </a:extLst>
          </p:cNvPr>
          <p:cNvGraphicFramePr>
            <a:graphicFrameLocks noGrp="1"/>
          </p:cNvGraphicFramePr>
          <p:nvPr>
            <p:extLst>
              <p:ext uri="{D42A27DB-BD31-4B8C-83A1-F6EECF244321}">
                <p14:modId xmlns:p14="http://schemas.microsoft.com/office/powerpoint/2010/main" val="1316631848"/>
              </p:ext>
            </p:extLst>
          </p:nvPr>
        </p:nvGraphicFramePr>
        <p:xfrm>
          <a:off x="336300" y="1577313"/>
          <a:ext cx="11486892" cy="4967508"/>
        </p:xfrm>
        <a:graphic>
          <a:graphicData uri="http://schemas.openxmlformats.org/drawingml/2006/table">
            <a:tbl>
              <a:tblPr firstRow="1" bandRow="1"/>
              <a:tblGrid>
                <a:gridCol w="2155521">
                  <a:extLst>
                    <a:ext uri="{9D8B030D-6E8A-4147-A177-3AD203B41FA5}">
                      <a16:colId xmlns:a16="http://schemas.microsoft.com/office/drawing/2014/main" val="1090453245"/>
                    </a:ext>
                  </a:extLst>
                </a:gridCol>
                <a:gridCol w="3005777">
                  <a:extLst>
                    <a:ext uri="{9D8B030D-6E8A-4147-A177-3AD203B41FA5}">
                      <a16:colId xmlns:a16="http://schemas.microsoft.com/office/drawing/2014/main" val="3427318786"/>
                    </a:ext>
                  </a:extLst>
                </a:gridCol>
                <a:gridCol w="3280465">
                  <a:extLst>
                    <a:ext uri="{9D8B030D-6E8A-4147-A177-3AD203B41FA5}">
                      <a16:colId xmlns:a16="http://schemas.microsoft.com/office/drawing/2014/main" val="4168070559"/>
                    </a:ext>
                  </a:extLst>
                </a:gridCol>
                <a:gridCol w="3045129">
                  <a:extLst>
                    <a:ext uri="{9D8B030D-6E8A-4147-A177-3AD203B41FA5}">
                      <a16:colId xmlns:a16="http://schemas.microsoft.com/office/drawing/2014/main" val="3817264551"/>
                    </a:ext>
                  </a:extLst>
                </a:gridCol>
              </a:tblGrid>
              <a:tr h="1276238">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lnSpc>
                          <a:spcPct val="100000"/>
                        </a:lnSpc>
                        <a:spcBef>
                          <a:spcPts val="0"/>
                        </a:spcBef>
                        <a:spcAft>
                          <a:spcPts val="0"/>
                        </a:spcAft>
                        <a:buNone/>
                      </a:pPr>
                      <a:r>
                        <a:rPr lang="en-US" sz="1200">
                          <a:latin typeface="+mn-lt"/>
                        </a:rPr>
                        <a:t>Citizen Dev agent creation (DIY) for personal use and experimentation with safe defaults</a:t>
                      </a:r>
                      <a:endParaRPr lang="en-US" sz="1200" b="0" i="0" u="none" strike="noStrike" kern="1200" cap="none" spc="0" normalizeH="0" baseline="0" noProof="0">
                        <a:ln>
                          <a:noFill/>
                        </a:ln>
                        <a:solidFill>
                          <a:srgbClr val="000000"/>
                        </a:solidFill>
                        <a:effectLst/>
                        <a:uLnTx/>
                        <a:uFillTx/>
                        <a:latin typeface="+mn-lt"/>
                      </a:endParaRP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noProof="0">
                          <a:ln>
                            <a:noFill/>
                          </a:ln>
                          <a:solidFill>
                            <a:srgbClr val="000000"/>
                          </a:solidFill>
                          <a:effectLst/>
                          <a:uLnTx/>
                          <a:uFillTx/>
                          <a:latin typeface="+mn-lt"/>
                        </a:rPr>
                        <a:t>Team or Department Agents in the partnered DIY zone require formal assistance and oversight from a DIY coach, but are built by trained citizen developers</a:t>
                      </a:r>
                      <a:endParaRPr kumimoji="0" lang="en-US" sz="1200">
                        <a:latin typeface="+mn-lt"/>
                      </a:endParaRP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noProof="0">
                          <a:ln>
                            <a:noFill/>
                          </a:ln>
                          <a:solidFill>
                            <a:srgbClr val="000000"/>
                          </a:solidFill>
                          <a:effectLst/>
                          <a:uLnTx/>
                          <a:uFillTx/>
                          <a:latin typeface="+mn-lt"/>
                        </a:rPr>
                        <a:t>Large, potentially risky agents in the professional development zone are reserved for pro dev &amp; IT-led development only</a:t>
                      </a:r>
                      <a:endParaRPr kumimoji="0" lang="en-US" sz="1200">
                        <a:latin typeface="+mn-lt"/>
                      </a:endParaRP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866590978"/>
                  </a:ext>
                </a:extLst>
              </a:tr>
              <a:tr h="1390202">
                <a:tc>
                  <a:txBody>
                    <a:bodyPr/>
                    <a:lstStyle/>
                    <a:p>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Agents run in user’s context only</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i="0" u="none" strike="noStrike" kern="1200" cap="none" spc="0" normalizeH="0" baseline="0">
                          <a:ln>
                            <a:noFill/>
                          </a:ln>
                          <a:solidFill>
                            <a:schemeClr val="tx1"/>
                          </a:solidFill>
                          <a:effectLst/>
                          <a:uLnTx/>
                          <a:uFillTx/>
                          <a:latin typeface="+mn-lt"/>
                          <a:ea typeface="+mn-ea"/>
                          <a:cs typeface="+mn-cs"/>
                        </a:rPr>
                        <a:t>Advanced Connector policies in Power Platform Admin Center</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a:ln>
                            <a:noFill/>
                          </a:ln>
                          <a:solidFill>
                            <a:schemeClr val="tx1"/>
                          </a:solidFill>
                          <a:effectLst/>
                          <a:uLnTx/>
                          <a:uFillTx/>
                          <a:latin typeface="+mn-lt"/>
                          <a:ea typeface="+mn-ea"/>
                          <a:cs typeface="+mn-cs"/>
                        </a:rPr>
                        <a:t>Teams share access to approved Data sources</a:t>
                      </a:r>
                      <a:endParaRPr lang="en-US" sz="1200" i="0" u="none" strike="noStrike" kern="1200" cap="none" spc="0" normalizeH="0" baseline="0">
                        <a:ln>
                          <a:noFill/>
                        </a:ln>
                        <a:solidFill>
                          <a:schemeClr val="tx1"/>
                        </a:solidFill>
                        <a:effectLst/>
                        <a:uLnTx/>
                        <a:uFillTx/>
                        <a:latin typeface="+mn-lt"/>
                        <a:ea typeface="+mn-ea"/>
                        <a:cs typeface="+mn-cs"/>
                      </a:endParaRPr>
                    </a:p>
                    <a:p>
                      <a:pPr lvl="0" algn="ctr">
                        <a:buNone/>
                      </a:pPr>
                      <a:r>
                        <a:rPr kumimoji="0" lang="en-US" sz="1200" i="0" u="none" strike="noStrike" kern="1200" cap="none" spc="0" normalizeH="0" baseline="0">
                          <a:ln>
                            <a:noFill/>
                          </a:ln>
                          <a:solidFill>
                            <a:schemeClr val="tx1"/>
                          </a:solidFill>
                          <a:effectLst/>
                          <a:uLnTx/>
                          <a:uFillTx/>
                          <a:latin typeface="+mn-lt"/>
                          <a:ea typeface="+mn-ea"/>
                          <a:cs typeface="+mn-cs"/>
                        </a:rPr>
                        <a:t>Scale with Environment groups + rules</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i="0" u="none" strike="noStrike" kern="1200" cap="none" spc="0" normalizeH="0" baseline="0">
                          <a:ln>
                            <a:noFill/>
                          </a:ln>
                          <a:solidFill>
                            <a:schemeClr val="tx1"/>
                          </a:solidFill>
                          <a:effectLst/>
                          <a:uLnTx/>
                          <a:uFillTx/>
                          <a:latin typeface="+mn-lt"/>
                          <a:ea typeface="+mn-ea"/>
                          <a:cs typeface="+mn-cs"/>
                        </a:rPr>
                        <a:t>Advanced Connector policies in Power Platform Admin Center + Purview</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496267"/>
                  </a:ext>
                </a:extLst>
              </a:tr>
              <a:tr h="1150534">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Sharing limits org wide</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Admin approved environments provisioning</a:t>
                      </a:r>
                    </a:p>
                    <a:p>
                      <a:pPr lvl="0" algn="ctr">
                        <a:buNone/>
                      </a:pPr>
                      <a:r>
                        <a:rPr lang="en-US" sz="1200" i="0" u="none" strike="noStrike" kern="1200" cap="none" spc="0" normalizeH="0" baseline="0">
                          <a:ln>
                            <a:noFill/>
                          </a:ln>
                          <a:solidFill>
                            <a:schemeClr val="tx1"/>
                          </a:solidFill>
                          <a:effectLst/>
                          <a:uLnTx/>
                          <a:uFillTx/>
                          <a:latin typeface="+mn-lt"/>
                          <a:ea typeface="+mn-ea"/>
                          <a:cs typeface="+mn-cs"/>
                        </a:rPr>
                        <a:t>Scoped roles and sharing policies</a:t>
                      </a:r>
                    </a:p>
                    <a:p>
                      <a:pPr lvl="0" algn="ctr">
                        <a:buNone/>
                      </a:pPr>
                      <a:r>
                        <a:rPr lang="en-US" sz="1200" i="0" u="none" strike="noStrike" kern="1200" cap="none" spc="0" normalizeH="0" baseline="0">
                          <a:ln>
                            <a:noFill/>
                          </a:ln>
                          <a:solidFill>
                            <a:schemeClr val="tx1"/>
                          </a:solidFill>
                          <a:effectLst/>
                          <a:uLnTx/>
                          <a:uFillTx/>
                          <a:latin typeface="+mn-lt"/>
                          <a:ea typeface="+mn-ea"/>
                          <a:cs typeface="+mn-cs"/>
                        </a:rPr>
                        <a:t>ALM Pipelines for agent versioning</a:t>
                      </a:r>
                    </a:p>
                    <a:p>
                      <a:pPr lvl="0" algn="ctr">
                        <a:buNone/>
                      </a:pPr>
                      <a:r>
                        <a:rPr lang="en-US" sz="1200" i="0" u="none" strike="noStrike" kern="1200" cap="none" spc="0" normalizeH="0" baseline="0">
                          <a:ln>
                            <a:noFill/>
                          </a:ln>
                          <a:solidFill>
                            <a:schemeClr val="tx1"/>
                          </a:solidFill>
                          <a:effectLst/>
                          <a:uLnTx/>
                          <a:uFillTx/>
                          <a:latin typeface="+mn-lt"/>
                          <a:ea typeface="+mn-ea"/>
                          <a:cs typeface="+mn-cs"/>
                        </a:rPr>
                        <a:t>IT-admin approval to publish agent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a:ln>
                            <a:noFill/>
                          </a:ln>
                          <a:solidFill>
                            <a:schemeClr val="tx1"/>
                          </a:solidFill>
                          <a:effectLst/>
                          <a:uLnTx/>
                          <a:uFillTx/>
                          <a:latin typeface="+mn-lt"/>
                          <a:ea typeface="+mn-ea"/>
                          <a:cs typeface="+mn-cs"/>
                        </a:rPr>
                        <a:t>Manage sharing via Integrated Apps in Microsoft Admin Center</a:t>
                      </a: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17177088"/>
                  </a:ext>
                </a:extLst>
              </a:tr>
              <a:tr h="1150534">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Review agents and their usage in MAC</a:t>
                      </a:r>
                    </a:p>
                  </a:txBody>
                  <a:tcPr anchor="ctr">
                    <a:lnL w="0">
                      <a:noFill/>
                    </a:lnL>
                    <a:lnR w="0">
                      <a:noFill/>
                    </a:lnR>
                    <a:lnT w="0">
                      <a:noFill/>
                    </a:lnT>
                    <a:lnB w="0">
                      <a:noFill/>
                    </a:lnB>
                    <a:lnTlToBr w="0">
                      <a:noFill/>
                    </a:lnTlToBr>
                    <a:lnBlToTr w="0">
                      <a:noFill/>
                    </a:lnBlToTr>
                    <a:noFill/>
                  </a:tcPr>
                </a:tc>
                <a:tc gridSpan="2">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Track agent usage and security posture in Microsoft Admin Center, Microsoft Purview, and Power Platform Admin Center</a:t>
                      </a:r>
                      <a:endParaRPr kumimoji="0" lang="en-US" sz="1200" i="0" u="none" strike="noStrike" kern="1200" cap="none" spc="0" normalizeH="0" baseline="0">
                        <a:ln>
                          <a:noFill/>
                        </a:ln>
                        <a:solidFill>
                          <a:schemeClr val="tx1"/>
                        </a:solidFill>
                        <a:effectLst/>
                        <a:uLnTx/>
                        <a:uFillTx/>
                        <a:latin typeface="+mn-lt"/>
                        <a:ea typeface="+mn-ea"/>
                        <a:cs typeface="+mn-cs"/>
                      </a:endParaRPr>
                    </a:p>
                  </a:txBody>
                  <a:tcPr anchor="ctr">
                    <a:lnL w="0">
                      <a:noFill/>
                    </a:lnL>
                    <a:lnR w="0">
                      <a:noFill/>
                    </a:lnR>
                    <a:lnT w="0">
                      <a:noFill/>
                    </a:lnT>
                    <a:lnB w="0">
                      <a:noFill/>
                    </a:lnB>
                    <a:lnTlToBr w="0">
                      <a:noFill/>
                    </a:lnTlToBr>
                    <a:lnBlToTr w="0">
                      <a:noFill/>
                    </a:lnBlToTr>
                    <a:noFill/>
                  </a:tcPr>
                </a:tc>
                <a:tc hMerge="1">
                  <a:txBody>
                    <a:bodyPr/>
                    <a:lstStyle/>
                    <a:p>
                      <a:endParaRPr kumimoji="0" lang="en-US"/>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023397196"/>
                  </a:ext>
                </a:extLst>
              </a:tr>
            </a:tbl>
          </a:graphicData>
        </a:graphic>
      </p:graphicFrame>
      <p:sp>
        <p:nvSpPr>
          <p:cNvPr id="66" name="Rounded Rectangle 18">
            <a:extLst>
              <a:ext uri="{FF2B5EF4-FFF2-40B4-BE49-F238E27FC236}">
                <a16:creationId xmlns:a16="http://schemas.microsoft.com/office/drawing/2014/main" id="{05B6A5C8-521F-ED03-0735-D7A3C8ABBDA3}"/>
              </a:ext>
              <a:ext uri="{C183D7F6-B498-43B3-948B-1728B52AA6E4}">
                <adec:decorative xmlns:adec="http://schemas.microsoft.com/office/drawing/2017/decorative" val="1"/>
              </a:ext>
            </a:extLst>
          </p:cNvPr>
          <p:cNvSpPr/>
          <p:nvPr/>
        </p:nvSpPr>
        <p:spPr bwMode="auto">
          <a:xfrm>
            <a:off x="5739529"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defRPr/>
            </a:pPr>
            <a:r>
              <a:rPr lang="en-US" sz="1600">
                <a:solidFill>
                  <a:prstClr val="white"/>
                </a:solidFill>
                <a:latin typeface="Segoe Sans Display Semibold"/>
                <a:cs typeface="Segoe Sans Display Semibold"/>
              </a:rPr>
              <a:t>For Makers</a:t>
            </a:r>
            <a:endParaRPr lang="en-US" sz="1600">
              <a:solidFill>
                <a:srgbClr val="000000"/>
              </a:solidFill>
              <a:latin typeface="Segoe Sans Display Semibold"/>
              <a:cs typeface="Segoe Sans Display Semibold"/>
            </a:endParaRPr>
          </a:p>
        </p:txBody>
      </p:sp>
      <p:sp>
        <p:nvSpPr>
          <p:cNvPr id="67" name="Rounded Rectangle 18">
            <a:extLst>
              <a:ext uri="{FF2B5EF4-FFF2-40B4-BE49-F238E27FC236}">
                <a16:creationId xmlns:a16="http://schemas.microsoft.com/office/drawing/2014/main" id="{9042708C-20FD-DC77-4186-EB88281FE4D3}"/>
              </a:ext>
              <a:ext uri="{C183D7F6-B498-43B3-948B-1728B52AA6E4}">
                <adec:decorative xmlns:adec="http://schemas.microsoft.com/office/drawing/2017/decorative" val="1"/>
              </a:ext>
            </a:extLst>
          </p:cNvPr>
          <p:cNvSpPr/>
          <p:nvPr/>
        </p:nvSpPr>
        <p:spPr bwMode="auto">
          <a:xfrm>
            <a:off x="2506524"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defRPr/>
            </a:pPr>
            <a:r>
              <a:rPr lang="en-US" sz="1600">
                <a:solidFill>
                  <a:prstClr val="white"/>
                </a:solidFill>
                <a:latin typeface="Segoe Sans Display Semibold"/>
                <a:cs typeface="Segoe Sans Display Semibold"/>
              </a:rPr>
              <a:t>For End Users</a:t>
            </a:r>
            <a:endParaRPr lang="en-US" sz="1600">
              <a:solidFill>
                <a:srgbClr val="000000"/>
              </a:solidFill>
              <a:latin typeface="Segoe Sans Display Semibold"/>
              <a:cs typeface="Segoe Sans Display Semibold"/>
            </a:endParaRPr>
          </a:p>
        </p:txBody>
      </p:sp>
      <p:sp>
        <p:nvSpPr>
          <p:cNvPr id="68" name="Rounded Rectangle 18">
            <a:extLst>
              <a:ext uri="{FF2B5EF4-FFF2-40B4-BE49-F238E27FC236}">
                <a16:creationId xmlns:a16="http://schemas.microsoft.com/office/drawing/2014/main" id="{89167F34-B7A2-C6C6-8141-C8798E7F8EC4}"/>
              </a:ext>
              <a:ext uri="{C183D7F6-B498-43B3-948B-1728B52AA6E4}">
                <adec:decorative xmlns:adec="http://schemas.microsoft.com/office/drawing/2017/decorative" val="1"/>
              </a:ext>
            </a:extLst>
          </p:cNvPr>
          <p:cNvSpPr/>
          <p:nvPr/>
        </p:nvSpPr>
        <p:spPr bwMode="auto">
          <a:xfrm>
            <a:off x="8972535"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defRPr/>
            </a:pPr>
            <a:r>
              <a:rPr lang="en-US" b="1">
                <a:solidFill>
                  <a:prstClr val="white"/>
                </a:solidFill>
                <a:latin typeface="Segoe UI Semibold"/>
                <a:cs typeface="Segoe UI Semibold"/>
              </a:rPr>
              <a:t>For Developers</a:t>
            </a:r>
            <a:endParaRPr lang="en-US">
              <a:ea typeface="+mn-ea"/>
            </a:endParaRPr>
          </a:p>
        </p:txBody>
      </p:sp>
      <p:grpSp>
        <p:nvGrpSpPr>
          <p:cNvPr id="9" name="Group 8">
            <a:extLst>
              <a:ext uri="{FF2B5EF4-FFF2-40B4-BE49-F238E27FC236}">
                <a16:creationId xmlns:a16="http://schemas.microsoft.com/office/drawing/2014/main" id="{4571E2FA-CB5C-CFDD-2601-736B268A3517}"/>
              </a:ext>
              <a:ext uri="{C183D7F6-B498-43B3-948B-1728B52AA6E4}">
                <adec:decorative xmlns:adec="http://schemas.microsoft.com/office/drawing/2017/decorative" val="1"/>
              </a:ext>
            </a:extLst>
          </p:cNvPr>
          <p:cNvGrpSpPr/>
          <p:nvPr/>
        </p:nvGrpSpPr>
        <p:grpSpPr>
          <a:xfrm>
            <a:off x="5378608" y="1090987"/>
            <a:ext cx="277810" cy="160399"/>
            <a:chOff x="6946629" y="4884600"/>
            <a:chExt cx="533771" cy="140864"/>
          </a:xfrm>
        </p:grpSpPr>
        <p:grpSp>
          <p:nvGrpSpPr>
            <p:cNvPr id="10" name="Group 9">
              <a:extLst>
                <a:ext uri="{FF2B5EF4-FFF2-40B4-BE49-F238E27FC236}">
                  <a16:creationId xmlns:a16="http://schemas.microsoft.com/office/drawing/2014/main" id="{7F9C2934-BE06-2475-4D32-C48F72920A6C}"/>
                </a:ext>
              </a:extLst>
            </p:cNvPr>
            <p:cNvGrpSpPr/>
            <p:nvPr/>
          </p:nvGrpSpPr>
          <p:grpSpPr>
            <a:xfrm>
              <a:off x="6946629" y="4884600"/>
              <a:ext cx="56968" cy="140864"/>
              <a:chOff x="7469504" y="5692140"/>
              <a:chExt cx="104776" cy="259080"/>
            </a:xfrm>
          </p:grpSpPr>
          <p:cxnSp>
            <p:nvCxnSpPr>
              <p:cNvPr id="30" name="Straight Connector 29">
                <a:extLst>
                  <a:ext uri="{FF2B5EF4-FFF2-40B4-BE49-F238E27FC236}">
                    <a16:creationId xmlns:a16="http://schemas.microsoft.com/office/drawing/2014/main" id="{877A4EC4-0F4C-AE28-77B1-9E06E47E2D09}"/>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61D6A8A-E4B6-4096-36CA-EB0FD464F9C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05C2377A-6F90-2CC4-D51B-D5720C85D445}"/>
                </a:ext>
              </a:extLst>
            </p:cNvPr>
            <p:cNvGrpSpPr/>
            <p:nvPr/>
          </p:nvGrpSpPr>
          <p:grpSpPr>
            <a:xfrm>
              <a:off x="7065830" y="4884600"/>
              <a:ext cx="56968" cy="140864"/>
              <a:chOff x="7469504" y="5692140"/>
              <a:chExt cx="104776" cy="259080"/>
            </a:xfrm>
          </p:grpSpPr>
          <p:cxnSp>
            <p:nvCxnSpPr>
              <p:cNvPr id="27" name="Straight Connector 26">
                <a:extLst>
                  <a:ext uri="{FF2B5EF4-FFF2-40B4-BE49-F238E27FC236}">
                    <a16:creationId xmlns:a16="http://schemas.microsoft.com/office/drawing/2014/main" id="{118C7D7B-D3D9-2358-EC85-B9784744829F}"/>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FAAC71B-EBE1-C133-3E21-FB2429AA07AC}"/>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E3A62CDE-A6BE-807E-3C85-ACB8EA50DF48}"/>
                </a:ext>
              </a:extLst>
            </p:cNvPr>
            <p:cNvGrpSpPr/>
            <p:nvPr/>
          </p:nvGrpSpPr>
          <p:grpSpPr>
            <a:xfrm>
              <a:off x="7185031" y="4884600"/>
              <a:ext cx="56968" cy="140864"/>
              <a:chOff x="7469504" y="5692140"/>
              <a:chExt cx="104776" cy="259080"/>
            </a:xfrm>
          </p:grpSpPr>
          <p:cxnSp>
            <p:nvCxnSpPr>
              <p:cNvPr id="25" name="Straight Connector 24">
                <a:extLst>
                  <a:ext uri="{FF2B5EF4-FFF2-40B4-BE49-F238E27FC236}">
                    <a16:creationId xmlns:a16="http://schemas.microsoft.com/office/drawing/2014/main" id="{653DCACF-A80C-F030-2A79-B43EE13E73D0}"/>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48C5194-8310-F58B-905D-707678585CB5}"/>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471790A6-7D89-3797-73A7-7997BE795B86}"/>
                </a:ext>
              </a:extLst>
            </p:cNvPr>
            <p:cNvGrpSpPr/>
            <p:nvPr/>
          </p:nvGrpSpPr>
          <p:grpSpPr>
            <a:xfrm>
              <a:off x="7304232" y="4884600"/>
              <a:ext cx="56968" cy="140864"/>
              <a:chOff x="7469504" y="5692140"/>
              <a:chExt cx="104776" cy="259080"/>
            </a:xfrm>
          </p:grpSpPr>
          <p:cxnSp>
            <p:nvCxnSpPr>
              <p:cNvPr id="22" name="Straight Connector 21">
                <a:extLst>
                  <a:ext uri="{FF2B5EF4-FFF2-40B4-BE49-F238E27FC236}">
                    <a16:creationId xmlns:a16="http://schemas.microsoft.com/office/drawing/2014/main" id="{46A33C43-D66F-1A82-6508-790212707E4B}"/>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F6D7F5A-1729-9D92-AEBD-DC46C03A7F1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C91BA647-C569-8287-17C4-48F7C84024C9}"/>
                </a:ext>
              </a:extLst>
            </p:cNvPr>
            <p:cNvGrpSpPr/>
            <p:nvPr/>
          </p:nvGrpSpPr>
          <p:grpSpPr>
            <a:xfrm>
              <a:off x="7423432" y="4884600"/>
              <a:ext cx="56968" cy="140864"/>
              <a:chOff x="7469504" y="5692140"/>
              <a:chExt cx="104776" cy="259080"/>
            </a:xfrm>
          </p:grpSpPr>
          <p:cxnSp>
            <p:nvCxnSpPr>
              <p:cNvPr id="20" name="Straight Connector 19">
                <a:extLst>
                  <a:ext uri="{FF2B5EF4-FFF2-40B4-BE49-F238E27FC236}">
                    <a16:creationId xmlns:a16="http://schemas.microsoft.com/office/drawing/2014/main" id="{0FD62F03-C5E4-6EA9-B7F4-CA4B2325169F}"/>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0BC71D3-6816-ADF4-72CC-19B607C4980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B00EAC6F-F49B-C171-F30B-2B07D4FBE660}"/>
              </a:ext>
              <a:ext uri="{C183D7F6-B498-43B3-948B-1728B52AA6E4}">
                <adec:decorative xmlns:adec="http://schemas.microsoft.com/office/drawing/2017/decorative" val="1"/>
              </a:ext>
            </a:extLst>
          </p:cNvPr>
          <p:cNvGrpSpPr/>
          <p:nvPr/>
        </p:nvGrpSpPr>
        <p:grpSpPr>
          <a:xfrm>
            <a:off x="8611536" y="1087956"/>
            <a:ext cx="274316" cy="164592"/>
            <a:chOff x="6946629" y="4884600"/>
            <a:chExt cx="533771" cy="140864"/>
          </a:xfrm>
        </p:grpSpPr>
        <p:grpSp>
          <p:nvGrpSpPr>
            <p:cNvPr id="37" name="Group 36">
              <a:extLst>
                <a:ext uri="{FF2B5EF4-FFF2-40B4-BE49-F238E27FC236}">
                  <a16:creationId xmlns:a16="http://schemas.microsoft.com/office/drawing/2014/main" id="{75E07C26-4222-4A12-26B1-3CFCCFD6EE7D}"/>
                </a:ext>
              </a:extLst>
            </p:cNvPr>
            <p:cNvGrpSpPr/>
            <p:nvPr/>
          </p:nvGrpSpPr>
          <p:grpSpPr>
            <a:xfrm>
              <a:off x="6946629" y="4884600"/>
              <a:ext cx="56968" cy="140864"/>
              <a:chOff x="7469504" y="5692140"/>
              <a:chExt cx="104776" cy="259080"/>
            </a:xfrm>
          </p:grpSpPr>
          <p:cxnSp>
            <p:nvCxnSpPr>
              <p:cNvPr id="50" name="Straight Connector 49">
                <a:extLst>
                  <a:ext uri="{FF2B5EF4-FFF2-40B4-BE49-F238E27FC236}">
                    <a16:creationId xmlns:a16="http://schemas.microsoft.com/office/drawing/2014/main" id="{02B3934B-57DA-2454-5346-7498B60E5916}"/>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E65D962-562A-7C52-4A8E-8AB51D713486}"/>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D0B67B6B-DD57-C111-B9DB-E429090EB867}"/>
                </a:ext>
              </a:extLst>
            </p:cNvPr>
            <p:cNvGrpSpPr/>
            <p:nvPr/>
          </p:nvGrpSpPr>
          <p:grpSpPr>
            <a:xfrm>
              <a:off x="7065830" y="4884600"/>
              <a:ext cx="56968" cy="140864"/>
              <a:chOff x="7469504" y="5692140"/>
              <a:chExt cx="104776" cy="259080"/>
            </a:xfrm>
          </p:grpSpPr>
          <p:cxnSp>
            <p:nvCxnSpPr>
              <p:cNvPr id="48" name="Straight Connector 47">
                <a:extLst>
                  <a:ext uri="{FF2B5EF4-FFF2-40B4-BE49-F238E27FC236}">
                    <a16:creationId xmlns:a16="http://schemas.microsoft.com/office/drawing/2014/main" id="{376ABE1E-605C-832B-1C5F-5A5E7DB850B6}"/>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CD0D020-9773-4986-1B22-CDA6BD0F8344}"/>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49591E92-5A08-805D-D8C5-11CC24C85DBB}"/>
                </a:ext>
              </a:extLst>
            </p:cNvPr>
            <p:cNvGrpSpPr/>
            <p:nvPr/>
          </p:nvGrpSpPr>
          <p:grpSpPr>
            <a:xfrm>
              <a:off x="7185031" y="4884600"/>
              <a:ext cx="56968" cy="140864"/>
              <a:chOff x="7469504" y="5692140"/>
              <a:chExt cx="104776" cy="259080"/>
            </a:xfrm>
          </p:grpSpPr>
          <p:cxnSp>
            <p:nvCxnSpPr>
              <p:cNvPr id="46" name="Straight Connector 45">
                <a:extLst>
                  <a:ext uri="{FF2B5EF4-FFF2-40B4-BE49-F238E27FC236}">
                    <a16:creationId xmlns:a16="http://schemas.microsoft.com/office/drawing/2014/main" id="{9A0C3D92-4FA8-8FC4-34B6-243EBBD95B58}"/>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8421613-A0C9-C815-D694-43D3E7F43C84}"/>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0D0B28F5-3026-1D48-E56E-B7D2A127670F}"/>
                </a:ext>
              </a:extLst>
            </p:cNvPr>
            <p:cNvGrpSpPr/>
            <p:nvPr/>
          </p:nvGrpSpPr>
          <p:grpSpPr>
            <a:xfrm>
              <a:off x="7304232" y="4884600"/>
              <a:ext cx="56968" cy="140864"/>
              <a:chOff x="7469504" y="5692140"/>
              <a:chExt cx="104776" cy="259080"/>
            </a:xfrm>
          </p:grpSpPr>
          <p:cxnSp>
            <p:nvCxnSpPr>
              <p:cNvPr id="44" name="Straight Connector 43">
                <a:extLst>
                  <a:ext uri="{FF2B5EF4-FFF2-40B4-BE49-F238E27FC236}">
                    <a16:creationId xmlns:a16="http://schemas.microsoft.com/office/drawing/2014/main" id="{B023D740-A6F2-9813-A0F0-90C7F1873DBE}"/>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F718CCB-0DB6-E112-283D-C8E856FE30E7}"/>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D1DE9924-AF35-82F2-9238-91EDDC2CF45D}"/>
                </a:ext>
              </a:extLst>
            </p:cNvPr>
            <p:cNvGrpSpPr/>
            <p:nvPr/>
          </p:nvGrpSpPr>
          <p:grpSpPr>
            <a:xfrm>
              <a:off x="7423432" y="4884600"/>
              <a:ext cx="56968" cy="140864"/>
              <a:chOff x="7469504" y="5692140"/>
              <a:chExt cx="104776" cy="259080"/>
            </a:xfrm>
          </p:grpSpPr>
          <p:cxnSp>
            <p:nvCxnSpPr>
              <p:cNvPr id="42" name="Straight Connector 41">
                <a:extLst>
                  <a:ext uri="{FF2B5EF4-FFF2-40B4-BE49-F238E27FC236}">
                    <a16:creationId xmlns:a16="http://schemas.microsoft.com/office/drawing/2014/main" id="{4CB32238-9DD2-C52B-6606-C414F13B240B}"/>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B2616D9-1109-F99D-79D8-DD35638CEF77}"/>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07475613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B9BD6-EB02-F14C-8320-59851C213D37}"/>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FC4A7575-B633-A0AE-774F-AEB7EC88063C}"/>
              </a:ext>
            </a:extLst>
          </p:cNvPr>
          <p:cNvSpPr txBox="1"/>
          <p:nvPr/>
        </p:nvSpPr>
        <p:spPr>
          <a:xfrm>
            <a:off x="584200" y="292100"/>
            <a:ext cx="11232662" cy="698846"/>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3000" spc="-50">
                <a:ln w="3175">
                  <a:noFill/>
                </a:ln>
                <a:latin typeface="Segoe UI Semibold" panose="020B0702040204020203" pitchFamily="34" charset="0"/>
                <a:ea typeface="+mj-ea"/>
                <a:cs typeface="+mj-cs"/>
              </a:rPr>
              <a:t>Copilot Control System</a:t>
            </a:r>
            <a:endParaRPr lang="en-FI" sz="3000" spc="-50">
              <a:ln w="3175">
                <a:noFill/>
              </a:ln>
              <a:latin typeface="Segoe UI Semibold" panose="020B0702040204020203" pitchFamily="34" charset="0"/>
              <a:ea typeface="+mj-ea"/>
              <a:cs typeface="+mj-cs"/>
            </a:endParaRPr>
          </a:p>
        </p:txBody>
      </p:sp>
      <p:sp>
        <p:nvSpPr>
          <p:cNvPr id="2" name="Rectangle: Rounded Corners 1">
            <a:extLst>
              <a:ext uri="{FF2B5EF4-FFF2-40B4-BE49-F238E27FC236}">
                <a16:creationId xmlns:a16="http://schemas.microsoft.com/office/drawing/2014/main" id="{2AC8587F-B6D4-305E-B6D7-3D87E1B7D8A6}"/>
              </a:ext>
              <a:ext uri="{C183D7F6-B498-43B3-948B-1728B52AA6E4}">
                <adec:decorative xmlns:adec="http://schemas.microsoft.com/office/drawing/2017/decorative" val="1"/>
              </a:ext>
            </a:extLst>
          </p:cNvPr>
          <p:cNvSpPr>
            <a:spLocks/>
          </p:cNvSpPr>
          <p:nvPr/>
        </p:nvSpPr>
        <p:spPr bwMode="auto">
          <a:xfrm>
            <a:off x="586740" y="1944364"/>
            <a:ext cx="11018520" cy="4781126"/>
          </a:xfrm>
          <a:prstGeom prst="roundRect">
            <a:avLst>
              <a:gd name="adj" fmla="val 2937"/>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sp>
        <p:nvSpPr>
          <p:cNvPr id="5" name="Rectangle: Rounded Corners 43">
            <a:extLst>
              <a:ext uri="{FF2B5EF4-FFF2-40B4-BE49-F238E27FC236}">
                <a16:creationId xmlns:a16="http://schemas.microsoft.com/office/drawing/2014/main" id="{51C5FB8A-6EC2-EB27-0BAD-5777EE10672E}"/>
              </a:ext>
              <a:ext uri="{C183D7F6-B498-43B3-948B-1728B52AA6E4}">
                <adec:decorative xmlns:adec="http://schemas.microsoft.com/office/drawing/2017/decorative" val="1"/>
              </a:ext>
            </a:extLst>
          </p:cNvPr>
          <p:cNvSpPr>
            <a:spLocks/>
          </p:cNvSpPr>
          <p:nvPr/>
        </p:nvSpPr>
        <p:spPr bwMode="auto">
          <a:xfrm>
            <a:off x="4344936" y="2859194"/>
            <a:ext cx="3501033" cy="3738395"/>
          </a:xfrm>
          <a:prstGeom prst="roundRect">
            <a:avLst>
              <a:gd name="adj" fmla="val 5000"/>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sp>
        <p:nvSpPr>
          <p:cNvPr id="7" name="Rectangle: Rounded Corners 43">
            <a:extLst>
              <a:ext uri="{FF2B5EF4-FFF2-40B4-BE49-F238E27FC236}">
                <a16:creationId xmlns:a16="http://schemas.microsoft.com/office/drawing/2014/main" id="{DAA798B4-69AA-F266-BE03-BB7D8EF99F30}"/>
              </a:ext>
              <a:ext uri="{C183D7F6-B498-43B3-948B-1728B52AA6E4}">
                <adec:decorative xmlns:adec="http://schemas.microsoft.com/office/drawing/2017/decorative" val="1"/>
              </a:ext>
            </a:extLst>
          </p:cNvPr>
          <p:cNvSpPr>
            <a:spLocks/>
          </p:cNvSpPr>
          <p:nvPr/>
        </p:nvSpPr>
        <p:spPr bwMode="auto">
          <a:xfrm>
            <a:off x="7975371" y="2859194"/>
            <a:ext cx="3501033" cy="3738395"/>
          </a:xfrm>
          <a:prstGeom prst="roundRect">
            <a:avLst>
              <a:gd name="adj" fmla="val 5000"/>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sp>
        <p:nvSpPr>
          <p:cNvPr id="9" name="Rectangle: Rounded Corners 43">
            <a:extLst>
              <a:ext uri="{FF2B5EF4-FFF2-40B4-BE49-F238E27FC236}">
                <a16:creationId xmlns:a16="http://schemas.microsoft.com/office/drawing/2014/main" id="{4D84B573-D9FC-0A47-AE51-2D6AA0F4960F}"/>
              </a:ext>
              <a:ext uri="{C183D7F6-B498-43B3-948B-1728B52AA6E4}">
                <adec:decorative xmlns:adec="http://schemas.microsoft.com/office/drawing/2017/decorative" val="1"/>
              </a:ext>
            </a:extLst>
          </p:cNvPr>
          <p:cNvSpPr>
            <a:spLocks/>
          </p:cNvSpPr>
          <p:nvPr/>
        </p:nvSpPr>
        <p:spPr bwMode="auto">
          <a:xfrm>
            <a:off x="726582" y="2827505"/>
            <a:ext cx="3499121" cy="3738395"/>
          </a:xfrm>
          <a:prstGeom prst="roundRect">
            <a:avLst>
              <a:gd name="adj" fmla="val 5000"/>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cxnSp>
        <p:nvCxnSpPr>
          <p:cNvPr id="10" name="Straight Connector 9">
            <a:extLst>
              <a:ext uri="{FF2B5EF4-FFF2-40B4-BE49-F238E27FC236}">
                <a16:creationId xmlns:a16="http://schemas.microsoft.com/office/drawing/2014/main" id="{AB5C864E-64A7-4560-52E5-0F31243DEEEB}"/>
              </a:ext>
            </a:extLst>
          </p:cNvPr>
          <p:cNvCxnSpPr>
            <a:cxnSpLocks/>
          </p:cNvCxnSpPr>
          <p:nvPr/>
        </p:nvCxnSpPr>
        <p:spPr>
          <a:xfrm>
            <a:off x="4586416" y="4576783"/>
            <a:ext cx="3018072"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0DB95FE-C6AE-421E-6854-788E8AC91B59}"/>
              </a:ext>
            </a:extLst>
          </p:cNvPr>
          <p:cNvCxnSpPr>
            <a:cxnSpLocks/>
          </p:cNvCxnSpPr>
          <p:nvPr/>
        </p:nvCxnSpPr>
        <p:spPr>
          <a:xfrm>
            <a:off x="8216851" y="4576783"/>
            <a:ext cx="3018072"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90E38CD-9BCC-10E9-2960-A044F872AFF2}"/>
              </a:ext>
            </a:extLst>
          </p:cNvPr>
          <p:cNvCxnSpPr>
            <a:cxnSpLocks/>
          </p:cNvCxnSpPr>
          <p:nvPr/>
        </p:nvCxnSpPr>
        <p:spPr>
          <a:xfrm>
            <a:off x="967931" y="4545094"/>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251D9FE-1ECA-F948-47A4-2C543A87A45D}"/>
              </a:ext>
            </a:extLst>
          </p:cNvPr>
          <p:cNvCxnSpPr/>
          <p:nvPr/>
        </p:nvCxnSpPr>
        <p:spPr>
          <a:xfrm>
            <a:off x="4586416" y="5633685"/>
            <a:ext cx="3018072"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5C5D41C-67F3-6ABB-CC58-44BB96BDDE7A}"/>
              </a:ext>
            </a:extLst>
          </p:cNvPr>
          <p:cNvCxnSpPr/>
          <p:nvPr/>
        </p:nvCxnSpPr>
        <p:spPr>
          <a:xfrm>
            <a:off x="8216851" y="5633685"/>
            <a:ext cx="3018072"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C5FB29C-C87D-9826-9A12-52AC12B02BAF}"/>
              </a:ext>
            </a:extLst>
          </p:cNvPr>
          <p:cNvCxnSpPr/>
          <p:nvPr/>
        </p:nvCxnSpPr>
        <p:spPr>
          <a:xfrm>
            <a:off x="967931" y="5601996"/>
            <a:ext cx="3016423"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928E4D3-8A64-48D3-EE34-42AB68BAD60C}"/>
              </a:ext>
            </a:extLst>
          </p:cNvPr>
          <p:cNvSpPr txBox="1">
            <a:spLocks noChangeAspect="1"/>
          </p:cNvSpPr>
          <p:nvPr/>
        </p:nvSpPr>
        <p:spPr>
          <a:xfrm>
            <a:off x="4586416" y="3387190"/>
            <a:ext cx="3018072" cy="276999"/>
          </a:xfrm>
          <a:prstGeom prst="rect">
            <a:avLst/>
          </a:prstGeom>
          <a:noFill/>
        </p:spPr>
        <p:txBody>
          <a:bodyPr wrap="square" lIns="0" tIns="0" rIns="0" bIns="0" anchor="t">
            <a:spAutoFit/>
          </a:bodyPr>
          <a:lstStyle/>
          <a:p>
            <a:pPr marL="0" marR="0" lvl="0" indent="0" algn="ctr" defTabSz="932742"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UI Semibold"/>
                <a:ea typeface="+mn-ea"/>
                <a:cs typeface="Segoe Sans Display Semibold" pitchFamily="2" charset="0"/>
              </a:rPr>
              <a:t>Data Protection</a:t>
            </a:r>
          </a:p>
        </p:txBody>
      </p:sp>
      <p:sp>
        <p:nvSpPr>
          <p:cNvPr id="18" name="TextBox 17">
            <a:extLst>
              <a:ext uri="{FF2B5EF4-FFF2-40B4-BE49-F238E27FC236}">
                <a16:creationId xmlns:a16="http://schemas.microsoft.com/office/drawing/2014/main" id="{10877E4C-9874-C01E-3B41-8F61C40F0230}"/>
              </a:ext>
            </a:extLst>
          </p:cNvPr>
          <p:cNvSpPr txBox="1">
            <a:spLocks noChangeAspect="1"/>
          </p:cNvSpPr>
          <p:nvPr/>
        </p:nvSpPr>
        <p:spPr>
          <a:xfrm>
            <a:off x="967106" y="3355501"/>
            <a:ext cx="3018072" cy="276999"/>
          </a:xfrm>
          <a:prstGeom prst="rect">
            <a:avLst/>
          </a:prstGeom>
          <a:noFill/>
        </p:spPr>
        <p:txBody>
          <a:bodyPr wrap="square" lIns="0" tIns="0" rIns="0" bIns="0" anchor="t">
            <a:spAutoFit/>
          </a:bodyPr>
          <a:lstStyle/>
          <a:p>
            <a:pPr marL="0" marR="0" lvl="0" indent="0" algn="ctr" defTabSz="932742"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UI Semibold"/>
                <a:ea typeface="+mn-ea"/>
                <a:cs typeface="Segoe Sans Display Semibold" pitchFamily="2" charset="0"/>
              </a:rPr>
              <a:t>Governance Controls</a:t>
            </a:r>
          </a:p>
        </p:txBody>
      </p:sp>
      <p:sp>
        <p:nvSpPr>
          <p:cNvPr id="19" name="TextBox 18">
            <a:extLst>
              <a:ext uri="{FF2B5EF4-FFF2-40B4-BE49-F238E27FC236}">
                <a16:creationId xmlns:a16="http://schemas.microsoft.com/office/drawing/2014/main" id="{19C8A0BF-1024-2F86-857C-1F50C963F5BE}"/>
              </a:ext>
            </a:extLst>
          </p:cNvPr>
          <p:cNvSpPr txBox="1">
            <a:spLocks noChangeAspect="1"/>
          </p:cNvSpPr>
          <p:nvPr/>
        </p:nvSpPr>
        <p:spPr>
          <a:xfrm>
            <a:off x="8216851" y="3387190"/>
            <a:ext cx="3018072" cy="276999"/>
          </a:xfrm>
          <a:prstGeom prst="rect">
            <a:avLst/>
          </a:prstGeom>
          <a:noFill/>
        </p:spPr>
        <p:txBody>
          <a:bodyPr wrap="square" lIns="0" tIns="0" rIns="0" bIns="0" anchor="t">
            <a:spAutoFit/>
          </a:bodyPr>
          <a:lstStyle/>
          <a:p>
            <a:pPr marL="0" marR="0" lvl="0" indent="0" algn="ctr" defTabSz="932742" rtl="0" eaLnBrk="1" fontAlgn="auto" latinLnBrk="0" hangingPunct="1">
              <a:lnSpc>
                <a:spcPct val="100000"/>
              </a:lnSpc>
              <a:spcBef>
                <a:spcPts val="600"/>
              </a:spcBef>
              <a:spcAft>
                <a:spcPts val="1200"/>
              </a:spcAft>
              <a:buClrTx/>
              <a:buSzTx/>
              <a:buFontTx/>
              <a:buNone/>
              <a:tabLst/>
              <a:defRPr/>
            </a:pPr>
            <a:r>
              <a:rPr kumimoji="0" lang="en-US" sz="1800" b="0" i="0" u="none" strike="noStrike" kern="1200" cap="none" spc="0" normalizeH="0" baseline="0" noProof="0">
                <a:ln w="3175">
                  <a:noFill/>
                </a:ln>
                <a:solidFill>
                  <a:srgbClr val="0078D4"/>
                </a:solidFill>
                <a:effectLst/>
                <a:uLnTx/>
                <a:uFillTx/>
                <a:latin typeface="Segoe UI Semibold"/>
                <a:ea typeface="+mn-ea"/>
                <a:cs typeface="Segoe Sans Display Semibold" pitchFamily="2" charset="0"/>
              </a:rPr>
              <a:t>Reporting &amp; Monitoring</a:t>
            </a:r>
          </a:p>
        </p:txBody>
      </p:sp>
      <p:sp>
        <p:nvSpPr>
          <p:cNvPr id="20" name="Round Same Side Corner Rectangle 17">
            <a:extLst>
              <a:ext uri="{FF2B5EF4-FFF2-40B4-BE49-F238E27FC236}">
                <a16:creationId xmlns:a16="http://schemas.microsoft.com/office/drawing/2014/main" id="{EF66354C-7545-9E1A-FF70-A31CEF4D8807}"/>
              </a:ext>
            </a:extLst>
          </p:cNvPr>
          <p:cNvSpPr>
            <a:spLocks/>
          </p:cNvSpPr>
          <p:nvPr/>
        </p:nvSpPr>
        <p:spPr bwMode="auto">
          <a:xfrm rot="10800000" flipH="1" flipV="1">
            <a:off x="928623" y="1587073"/>
            <a:ext cx="10334754" cy="779026"/>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w="3175">
                  <a:noFill/>
                </a:ln>
                <a:solidFill>
                  <a:srgbClr val="FFFFFF"/>
                </a:solidFill>
                <a:effectLst/>
                <a:uLnTx/>
                <a:uFillTx/>
                <a:latin typeface="Segoe UI"/>
                <a:ea typeface="+mn-ea"/>
                <a:cs typeface="+mn-cs"/>
              </a:rPr>
              <a:t>The </a:t>
            </a:r>
            <a:r>
              <a:rPr kumimoji="0" lang="en-US" sz="1800" b="0" i="0" u="none" strike="noStrike" kern="1200" cap="none" spc="0" normalizeH="0" baseline="0" noProof="0">
                <a:ln w="3175">
                  <a:noFill/>
                </a:ln>
                <a:solidFill>
                  <a:srgbClr val="FFFFFF"/>
                </a:solidFill>
                <a:effectLst/>
                <a:uLnTx/>
                <a:uFillTx/>
                <a:latin typeface="Segoe UI Semibold"/>
                <a:ea typeface="+mn-ea"/>
                <a:cs typeface="+mn-cs"/>
              </a:rPr>
              <a:t>Copilot Control System </a:t>
            </a:r>
            <a:r>
              <a:rPr kumimoji="0" lang="en-US" sz="1800" b="0" i="0" u="none" strike="noStrike" kern="1200" cap="none" spc="0" normalizeH="0" baseline="0" noProof="0">
                <a:ln w="3175">
                  <a:noFill/>
                </a:ln>
                <a:solidFill>
                  <a:srgbClr val="FFFFFF"/>
                </a:solidFill>
                <a:effectLst/>
                <a:uLnTx/>
                <a:uFillTx/>
                <a:latin typeface="Segoe UI"/>
                <a:ea typeface="+mn-ea"/>
                <a:cs typeface="+mn-cs"/>
              </a:rPr>
              <a:t>is designed to enable IT confidently adopt and </a:t>
            </a:r>
            <a:br>
              <a:rPr kumimoji="0" lang="en-US" sz="1800" b="0" i="0" u="none" strike="noStrike" kern="1200" cap="none" spc="0" normalizeH="0" baseline="0" noProof="0">
                <a:ln w="3175">
                  <a:noFill/>
                </a:ln>
                <a:solidFill>
                  <a:srgbClr val="FFFFFF"/>
                </a:solidFill>
                <a:effectLst/>
                <a:uLnTx/>
                <a:uFillTx/>
                <a:latin typeface="Segoe UI"/>
                <a:ea typeface="+mn-ea"/>
                <a:cs typeface="+mn-cs"/>
              </a:rPr>
            </a:br>
            <a:r>
              <a:rPr kumimoji="0" lang="en-US" sz="1800" b="0" i="0" u="none" strike="noStrike" kern="1200" cap="none" spc="0" normalizeH="0" baseline="0" noProof="0">
                <a:ln w="3175">
                  <a:noFill/>
                </a:ln>
                <a:solidFill>
                  <a:srgbClr val="FFFFFF"/>
                </a:solidFill>
                <a:effectLst/>
                <a:uLnTx/>
                <a:uFillTx/>
                <a:latin typeface="Segoe UI"/>
                <a:ea typeface="+mn-ea"/>
                <a:cs typeface="+mn-cs"/>
              </a:rPr>
              <a:t>accelerate the business value of Copilot and agents. This includes:</a:t>
            </a:r>
          </a:p>
        </p:txBody>
      </p:sp>
      <p:sp>
        <p:nvSpPr>
          <p:cNvPr id="21" name="TextBox 20">
            <a:extLst>
              <a:ext uri="{FF2B5EF4-FFF2-40B4-BE49-F238E27FC236}">
                <a16:creationId xmlns:a16="http://schemas.microsoft.com/office/drawing/2014/main" id="{0168748A-0E73-850B-4BE8-ADC4514C562E}"/>
              </a:ext>
            </a:extLst>
          </p:cNvPr>
          <p:cNvSpPr txBox="1"/>
          <p:nvPr/>
        </p:nvSpPr>
        <p:spPr>
          <a:xfrm>
            <a:off x="586740" y="1222889"/>
            <a:ext cx="11018520" cy="288037"/>
          </a:xfrm>
          <a:prstGeom prst="rect">
            <a:avLst/>
          </a:prstGeom>
          <a:noFill/>
        </p:spPr>
        <p:txBody>
          <a:bodyPr wrap="square" lIns="0" tIns="0" rIns="0" bIns="0">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a:ea typeface="+mn-ea"/>
                <a:cs typeface="Segoe UI" pitchFamily="34" charset="0"/>
              </a:rPr>
              <a:t>Equipping IT to lead AI transformation</a:t>
            </a:r>
          </a:p>
        </p:txBody>
      </p:sp>
      <p:sp>
        <p:nvSpPr>
          <p:cNvPr id="22" name="Rectangle 21">
            <a:extLst>
              <a:ext uri="{FF2B5EF4-FFF2-40B4-BE49-F238E27FC236}">
                <a16:creationId xmlns:a16="http://schemas.microsoft.com/office/drawing/2014/main" id="{7C127F08-EA44-7755-D9A8-8432A3F489C5}"/>
              </a:ext>
            </a:extLst>
          </p:cNvPr>
          <p:cNvSpPr>
            <a:spLocks noChangeAspect="1"/>
          </p:cNvSpPr>
          <p:nvPr/>
        </p:nvSpPr>
        <p:spPr bwMode="auto">
          <a:xfrm>
            <a:off x="4468327" y="3872718"/>
            <a:ext cx="3254250"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dentify and mitigate</a:t>
            </a:r>
            <a:b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oversharing</a:t>
            </a:r>
          </a:p>
        </p:txBody>
      </p:sp>
      <p:sp>
        <p:nvSpPr>
          <p:cNvPr id="23" name="Rectangle 22">
            <a:extLst>
              <a:ext uri="{FF2B5EF4-FFF2-40B4-BE49-F238E27FC236}">
                <a16:creationId xmlns:a16="http://schemas.microsoft.com/office/drawing/2014/main" id="{398F892E-42EC-FB36-7498-E632A8A1498E}"/>
              </a:ext>
            </a:extLst>
          </p:cNvPr>
          <p:cNvSpPr>
            <a:spLocks noChangeAspect="1"/>
          </p:cNvSpPr>
          <p:nvPr/>
        </p:nvSpPr>
        <p:spPr bwMode="auto">
          <a:xfrm>
            <a:off x="849017" y="3841029"/>
            <a:ext cx="3254250"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ontrol which agents are available and who can access agents</a:t>
            </a:r>
          </a:p>
        </p:txBody>
      </p:sp>
      <p:sp>
        <p:nvSpPr>
          <p:cNvPr id="24" name="Rectangle 23">
            <a:extLst>
              <a:ext uri="{FF2B5EF4-FFF2-40B4-BE49-F238E27FC236}">
                <a16:creationId xmlns:a16="http://schemas.microsoft.com/office/drawing/2014/main" id="{349B74DC-6154-2BA2-095B-DAABE615ACEF}"/>
              </a:ext>
            </a:extLst>
          </p:cNvPr>
          <p:cNvSpPr>
            <a:spLocks noChangeAspect="1"/>
          </p:cNvSpPr>
          <p:nvPr/>
        </p:nvSpPr>
        <p:spPr bwMode="auto">
          <a:xfrm>
            <a:off x="8098762" y="3872718"/>
            <a:ext cx="3254250"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View core usage telemetry and track license utilization</a:t>
            </a:r>
          </a:p>
        </p:txBody>
      </p:sp>
      <p:sp>
        <p:nvSpPr>
          <p:cNvPr id="25" name="Rectangle 24">
            <a:extLst>
              <a:ext uri="{FF2B5EF4-FFF2-40B4-BE49-F238E27FC236}">
                <a16:creationId xmlns:a16="http://schemas.microsoft.com/office/drawing/2014/main" id="{66C71474-3D25-BFBA-9FFF-A269A71085F6}"/>
              </a:ext>
              <a:ext uri="{C183D7F6-B498-43B3-948B-1728B52AA6E4}">
                <adec:decorative xmlns:adec="http://schemas.microsoft.com/office/drawing/2017/decorative" val="0"/>
              </a:ext>
            </a:extLst>
          </p:cNvPr>
          <p:cNvSpPr>
            <a:spLocks noChangeAspect="1"/>
          </p:cNvSpPr>
          <p:nvPr/>
        </p:nvSpPr>
        <p:spPr bwMode="auto">
          <a:xfrm>
            <a:off x="4468327" y="5812678"/>
            <a:ext cx="3254250"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RAI checks for every prompt</a:t>
            </a:r>
            <a:b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protect from AI risks</a:t>
            </a:r>
          </a:p>
        </p:txBody>
      </p:sp>
      <p:sp>
        <p:nvSpPr>
          <p:cNvPr id="26" name="Rectangle 25">
            <a:extLst>
              <a:ext uri="{FF2B5EF4-FFF2-40B4-BE49-F238E27FC236}">
                <a16:creationId xmlns:a16="http://schemas.microsoft.com/office/drawing/2014/main" id="{C77AD63D-0A55-9102-2478-5115C6E62951}"/>
              </a:ext>
              <a:ext uri="{C183D7F6-B498-43B3-948B-1728B52AA6E4}">
                <adec:decorative xmlns:adec="http://schemas.microsoft.com/office/drawing/2017/decorative" val="0"/>
              </a:ext>
            </a:extLst>
          </p:cNvPr>
          <p:cNvSpPr>
            <a:spLocks noChangeAspect="1"/>
          </p:cNvSpPr>
          <p:nvPr/>
        </p:nvSpPr>
        <p:spPr bwMode="auto">
          <a:xfrm>
            <a:off x="849017" y="5780989"/>
            <a:ext cx="3254250"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rack and manage agent </a:t>
            </a:r>
            <a:b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lifecycle, access usage and operational insights</a:t>
            </a:r>
          </a:p>
        </p:txBody>
      </p:sp>
      <p:sp>
        <p:nvSpPr>
          <p:cNvPr id="27" name="Rectangle 26">
            <a:extLst>
              <a:ext uri="{FF2B5EF4-FFF2-40B4-BE49-F238E27FC236}">
                <a16:creationId xmlns:a16="http://schemas.microsoft.com/office/drawing/2014/main" id="{7A50B05D-954F-9EB6-2514-AEFC31DA9290}"/>
              </a:ext>
              <a:ext uri="{C183D7F6-B498-43B3-948B-1728B52AA6E4}">
                <adec:decorative xmlns:adec="http://schemas.microsoft.com/office/drawing/2017/decorative" val="0"/>
              </a:ext>
            </a:extLst>
          </p:cNvPr>
          <p:cNvSpPr>
            <a:spLocks noChangeAspect="1"/>
          </p:cNvSpPr>
          <p:nvPr/>
        </p:nvSpPr>
        <p:spPr bwMode="auto">
          <a:xfrm>
            <a:off x="8098762" y="5812678"/>
            <a:ext cx="3254250"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nalyze Copilot &amp; agents impact to business outcomes</a:t>
            </a:r>
          </a:p>
        </p:txBody>
      </p:sp>
      <p:sp>
        <p:nvSpPr>
          <p:cNvPr id="28" name="Rectangle 27">
            <a:extLst>
              <a:ext uri="{FF2B5EF4-FFF2-40B4-BE49-F238E27FC236}">
                <a16:creationId xmlns:a16="http://schemas.microsoft.com/office/drawing/2014/main" id="{ABEA27B5-25C0-F144-73DF-8BA842969B7C}"/>
              </a:ext>
            </a:extLst>
          </p:cNvPr>
          <p:cNvSpPr>
            <a:spLocks noChangeAspect="1"/>
          </p:cNvSpPr>
          <p:nvPr/>
        </p:nvSpPr>
        <p:spPr bwMode="auto">
          <a:xfrm>
            <a:off x="4468327" y="4755776"/>
            <a:ext cx="3254250" cy="6989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ntelligent grounding respects</a:t>
            </a:r>
            <a:b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your permissions and security controls </a:t>
            </a:r>
          </a:p>
        </p:txBody>
      </p:sp>
      <p:sp>
        <p:nvSpPr>
          <p:cNvPr id="29" name="Rectangle 28">
            <a:extLst>
              <a:ext uri="{FF2B5EF4-FFF2-40B4-BE49-F238E27FC236}">
                <a16:creationId xmlns:a16="http://schemas.microsoft.com/office/drawing/2014/main" id="{72B235D2-148A-C0D1-57BB-8AA34295614D}"/>
              </a:ext>
            </a:extLst>
          </p:cNvPr>
          <p:cNvSpPr>
            <a:spLocks noChangeAspect="1"/>
          </p:cNvSpPr>
          <p:nvPr/>
        </p:nvSpPr>
        <p:spPr bwMode="auto">
          <a:xfrm>
            <a:off x="849017" y="4724087"/>
            <a:ext cx="3254250" cy="6989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Review agent permissions and actions before making available in your tenant</a:t>
            </a:r>
          </a:p>
        </p:txBody>
      </p:sp>
      <p:sp>
        <p:nvSpPr>
          <p:cNvPr id="30" name="Rectangle 29">
            <a:extLst>
              <a:ext uri="{FF2B5EF4-FFF2-40B4-BE49-F238E27FC236}">
                <a16:creationId xmlns:a16="http://schemas.microsoft.com/office/drawing/2014/main" id="{79308DC0-9EC4-CF5B-5569-2A6A95AFBFC4}"/>
              </a:ext>
            </a:extLst>
          </p:cNvPr>
          <p:cNvSpPr>
            <a:spLocks noChangeAspect="1"/>
          </p:cNvSpPr>
          <p:nvPr/>
        </p:nvSpPr>
        <p:spPr bwMode="auto">
          <a:xfrm>
            <a:off x="8098762" y="4755776"/>
            <a:ext cx="3254250" cy="6989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rack improvements in user productivity and compare impact across groups</a:t>
            </a:r>
          </a:p>
        </p:txBody>
      </p:sp>
      <p:grpSp>
        <p:nvGrpSpPr>
          <p:cNvPr id="31" name="Group 30">
            <a:extLst>
              <a:ext uri="{FF2B5EF4-FFF2-40B4-BE49-F238E27FC236}">
                <a16:creationId xmlns:a16="http://schemas.microsoft.com/office/drawing/2014/main" id="{3F0C24AD-9EB2-513C-A9A9-7660783DA120}"/>
              </a:ext>
            </a:extLst>
          </p:cNvPr>
          <p:cNvGrpSpPr/>
          <p:nvPr/>
        </p:nvGrpSpPr>
        <p:grpSpPr>
          <a:xfrm>
            <a:off x="5705425" y="2469168"/>
            <a:ext cx="780054" cy="780054"/>
            <a:chOff x="2076084" y="2209192"/>
            <a:chExt cx="780054" cy="780054"/>
          </a:xfrm>
        </p:grpSpPr>
        <p:sp>
          <p:nvSpPr>
            <p:cNvPr id="32" name="Freeform: Shape 33">
              <a:extLst>
                <a:ext uri="{FF2B5EF4-FFF2-40B4-BE49-F238E27FC236}">
                  <a16:creationId xmlns:a16="http://schemas.microsoft.com/office/drawing/2014/main" id="{0896C431-7E7B-2075-DF09-F1281972C02C}"/>
                </a:ext>
                <a:ext uri="{C183D7F6-B498-43B3-948B-1728B52AA6E4}">
                  <adec:decorative xmlns:adec="http://schemas.microsoft.com/office/drawing/2017/decorative" val="1"/>
                </a:ext>
              </a:extLst>
            </p:cNvPr>
            <p:cNvSpPr>
              <a:spLocks/>
            </p:cNvSpPr>
            <p:nvPr/>
          </p:nvSpPr>
          <p:spPr bwMode="auto">
            <a:xfrm>
              <a:off x="2076084" y="2209192"/>
              <a:ext cx="780054" cy="78005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3" name="Graphic 65">
              <a:extLst>
                <a:ext uri="{FF2B5EF4-FFF2-40B4-BE49-F238E27FC236}">
                  <a16:creationId xmlns:a16="http://schemas.microsoft.com/office/drawing/2014/main" id="{3ABF84A6-F8E2-3B11-58AD-29964CED5BAD}"/>
                </a:ext>
              </a:extLst>
            </p:cNvPr>
            <p:cNvSpPr/>
            <p:nvPr/>
          </p:nvSpPr>
          <p:spPr>
            <a:xfrm>
              <a:off x="2318707" y="2451766"/>
              <a:ext cx="294807" cy="294806"/>
            </a:xfrm>
            <a:custGeom>
              <a:avLst/>
              <a:gdLst>
                <a:gd name="connsiteX0" fmla="*/ 249767 w 294807"/>
                <a:gd name="connsiteY0" fmla="*/ 0 h 294806"/>
                <a:gd name="connsiteX1" fmla="*/ 294807 w 294807"/>
                <a:gd name="connsiteY1" fmla="*/ 45040 h 294806"/>
                <a:gd name="connsiteX2" fmla="*/ 294807 w 294807"/>
                <a:gd name="connsiteY2" fmla="*/ 249767 h 294806"/>
                <a:gd name="connsiteX3" fmla="*/ 249767 w 294807"/>
                <a:gd name="connsiteY3" fmla="*/ 294807 h 294806"/>
                <a:gd name="connsiteX4" fmla="*/ 45040 w 294807"/>
                <a:gd name="connsiteY4" fmla="*/ 294807 h 294806"/>
                <a:gd name="connsiteX5" fmla="*/ 0 w 294807"/>
                <a:gd name="connsiteY5" fmla="*/ 249767 h 294806"/>
                <a:gd name="connsiteX6" fmla="*/ 0 w 294807"/>
                <a:gd name="connsiteY6" fmla="*/ 45040 h 294806"/>
                <a:gd name="connsiteX7" fmla="*/ 45040 w 294807"/>
                <a:gd name="connsiteY7" fmla="*/ 0 h 294806"/>
                <a:gd name="connsiteX8" fmla="*/ 249767 w 294807"/>
                <a:gd name="connsiteY8" fmla="*/ 0 h 294806"/>
                <a:gd name="connsiteX9" fmla="*/ 77796 w 294807"/>
                <a:gd name="connsiteY9" fmla="*/ 98318 h 294806"/>
                <a:gd name="connsiteX10" fmla="*/ 65513 w 294807"/>
                <a:gd name="connsiteY10" fmla="*/ 110536 h 294806"/>
                <a:gd name="connsiteX11" fmla="*/ 65513 w 294807"/>
                <a:gd name="connsiteY11" fmla="*/ 110553 h 294806"/>
                <a:gd name="connsiteX12" fmla="*/ 65513 w 294807"/>
                <a:gd name="connsiteY12" fmla="*/ 217125 h 294806"/>
                <a:gd name="connsiteX13" fmla="*/ 77796 w 294807"/>
                <a:gd name="connsiteY13" fmla="*/ 229343 h 294806"/>
                <a:gd name="connsiteX14" fmla="*/ 90080 w 294807"/>
                <a:gd name="connsiteY14" fmla="*/ 217125 h 294806"/>
                <a:gd name="connsiteX15" fmla="*/ 90080 w 294807"/>
                <a:gd name="connsiteY15" fmla="*/ 110553 h 294806"/>
                <a:gd name="connsiteX16" fmla="*/ 77813 w 294807"/>
                <a:gd name="connsiteY16" fmla="*/ 98318 h 294806"/>
                <a:gd name="connsiteX17" fmla="*/ 77796 w 294807"/>
                <a:gd name="connsiteY17" fmla="*/ 98318 h 294806"/>
                <a:gd name="connsiteX18" fmla="*/ 217011 w 294807"/>
                <a:gd name="connsiteY18" fmla="*/ 65562 h 294806"/>
                <a:gd name="connsiteX19" fmla="*/ 204727 w 294807"/>
                <a:gd name="connsiteY19" fmla="*/ 77516 h 294806"/>
                <a:gd name="connsiteX20" fmla="*/ 204727 w 294807"/>
                <a:gd name="connsiteY20" fmla="*/ 77518 h 294806"/>
                <a:gd name="connsiteX21" fmla="*/ 204727 w 294807"/>
                <a:gd name="connsiteY21" fmla="*/ 217404 h 294806"/>
                <a:gd name="connsiteX22" fmla="*/ 217011 w 294807"/>
                <a:gd name="connsiteY22" fmla="*/ 229360 h 294806"/>
                <a:gd name="connsiteX23" fmla="*/ 229294 w 294807"/>
                <a:gd name="connsiteY23" fmla="*/ 217405 h 294806"/>
                <a:gd name="connsiteX24" fmla="*/ 229294 w 294807"/>
                <a:gd name="connsiteY24" fmla="*/ 217404 h 294806"/>
                <a:gd name="connsiteX25" fmla="*/ 229294 w 294807"/>
                <a:gd name="connsiteY25" fmla="*/ 77518 h 294806"/>
                <a:gd name="connsiteX26" fmla="*/ 217012 w 294807"/>
                <a:gd name="connsiteY26" fmla="*/ 65562 h 294806"/>
                <a:gd name="connsiteX27" fmla="*/ 217011 w 294807"/>
                <a:gd name="connsiteY27" fmla="*/ 65562 h 294806"/>
                <a:gd name="connsiteX28" fmla="*/ 146994 w 294807"/>
                <a:gd name="connsiteY28" fmla="*/ 147404 h 294806"/>
                <a:gd name="connsiteX29" fmla="*/ 135120 w 294807"/>
                <a:gd name="connsiteY29" fmla="*/ 159425 h 294806"/>
                <a:gd name="connsiteX30" fmla="*/ 135693 w 294807"/>
                <a:gd name="connsiteY30" fmla="*/ 217518 h 294806"/>
                <a:gd name="connsiteX31" fmla="*/ 147811 w 294807"/>
                <a:gd name="connsiteY31" fmla="*/ 229311 h 294806"/>
                <a:gd name="connsiteX32" fmla="*/ 147813 w 294807"/>
                <a:gd name="connsiteY32" fmla="*/ 229311 h 294806"/>
                <a:gd name="connsiteX33" fmla="*/ 159687 w 294807"/>
                <a:gd name="connsiteY33" fmla="*/ 217289 h 294806"/>
                <a:gd name="connsiteX34" fmla="*/ 159114 w 294807"/>
                <a:gd name="connsiteY34" fmla="*/ 159179 h 294806"/>
                <a:gd name="connsiteX35" fmla="*/ 146994 w 294807"/>
                <a:gd name="connsiteY35" fmla="*/ 147404 h 29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4807" h="294806">
                  <a:moveTo>
                    <a:pt x="249767" y="0"/>
                  </a:moveTo>
                  <a:cubicBezTo>
                    <a:pt x="274642" y="0"/>
                    <a:pt x="294807" y="20165"/>
                    <a:pt x="294807" y="45040"/>
                  </a:cubicBezTo>
                  <a:lnTo>
                    <a:pt x="294807" y="249767"/>
                  </a:lnTo>
                  <a:cubicBezTo>
                    <a:pt x="294807" y="274642"/>
                    <a:pt x="274642" y="294807"/>
                    <a:pt x="249767" y="294807"/>
                  </a:cubicBezTo>
                  <a:lnTo>
                    <a:pt x="45040" y="294807"/>
                  </a:lnTo>
                  <a:cubicBezTo>
                    <a:pt x="20165" y="294807"/>
                    <a:pt x="0" y="274642"/>
                    <a:pt x="0" y="249767"/>
                  </a:cubicBezTo>
                  <a:lnTo>
                    <a:pt x="0" y="45040"/>
                  </a:lnTo>
                  <a:cubicBezTo>
                    <a:pt x="0" y="20165"/>
                    <a:pt x="20165" y="0"/>
                    <a:pt x="45040" y="0"/>
                  </a:cubicBezTo>
                  <a:lnTo>
                    <a:pt x="249767" y="0"/>
                  </a:lnTo>
                  <a:close/>
                  <a:moveTo>
                    <a:pt x="77796" y="98318"/>
                  </a:moveTo>
                  <a:cubicBezTo>
                    <a:pt x="71030" y="98300"/>
                    <a:pt x="65531" y="103770"/>
                    <a:pt x="65513" y="110536"/>
                  </a:cubicBezTo>
                  <a:cubicBezTo>
                    <a:pt x="65513" y="110542"/>
                    <a:pt x="65513" y="110547"/>
                    <a:pt x="65513" y="110553"/>
                  </a:cubicBezTo>
                  <a:lnTo>
                    <a:pt x="65513" y="217125"/>
                  </a:lnTo>
                  <a:cubicBezTo>
                    <a:pt x="65513" y="223873"/>
                    <a:pt x="71016" y="229343"/>
                    <a:pt x="77796" y="229343"/>
                  </a:cubicBezTo>
                  <a:cubicBezTo>
                    <a:pt x="84577" y="229343"/>
                    <a:pt x="90080" y="223873"/>
                    <a:pt x="90080" y="217125"/>
                  </a:cubicBezTo>
                  <a:lnTo>
                    <a:pt x="90080" y="110553"/>
                  </a:lnTo>
                  <a:cubicBezTo>
                    <a:pt x="90071" y="103787"/>
                    <a:pt x="84579" y="98309"/>
                    <a:pt x="77813" y="98318"/>
                  </a:cubicBezTo>
                  <a:cubicBezTo>
                    <a:pt x="77807" y="98318"/>
                    <a:pt x="77802" y="98318"/>
                    <a:pt x="77796" y="98318"/>
                  </a:cubicBezTo>
                  <a:close/>
                  <a:moveTo>
                    <a:pt x="217011" y="65562"/>
                  </a:moveTo>
                  <a:cubicBezTo>
                    <a:pt x="210317" y="65471"/>
                    <a:pt x="204819" y="70823"/>
                    <a:pt x="204727" y="77516"/>
                  </a:cubicBezTo>
                  <a:cubicBezTo>
                    <a:pt x="204727" y="77516"/>
                    <a:pt x="204727" y="77517"/>
                    <a:pt x="204727" y="77518"/>
                  </a:cubicBezTo>
                  <a:lnTo>
                    <a:pt x="204727" y="217404"/>
                  </a:lnTo>
                  <a:cubicBezTo>
                    <a:pt x="204727" y="224004"/>
                    <a:pt x="210230" y="229360"/>
                    <a:pt x="217011" y="229360"/>
                  </a:cubicBezTo>
                  <a:cubicBezTo>
                    <a:pt x="223704" y="229452"/>
                    <a:pt x="229203" y="224099"/>
                    <a:pt x="229294" y="217405"/>
                  </a:cubicBezTo>
                  <a:cubicBezTo>
                    <a:pt x="229294" y="217405"/>
                    <a:pt x="229294" y="217404"/>
                    <a:pt x="229294" y="217404"/>
                  </a:cubicBezTo>
                  <a:lnTo>
                    <a:pt x="229294" y="77518"/>
                  </a:lnTo>
                  <a:cubicBezTo>
                    <a:pt x="229204" y="70825"/>
                    <a:pt x="223706" y="65472"/>
                    <a:pt x="217012" y="65562"/>
                  </a:cubicBezTo>
                  <a:cubicBezTo>
                    <a:pt x="217012" y="65562"/>
                    <a:pt x="217011" y="65562"/>
                    <a:pt x="217011" y="65562"/>
                  </a:cubicBezTo>
                  <a:close/>
                  <a:moveTo>
                    <a:pt x="146994" y="147404"/>
                  </a:moveTo>
                  <a:cubicBezTo>
                    <a:pt x="140397" y="147449"/>
                    <a:pt x="135084" y="152828"/>
                    <a:pt x="135120" y="159425"/>
                  </a:cubicBezTo>
                  <a:lnTo>
                    <a:pt x="135693" y="217518"/>
                  </a:lnTo>
                  <a:cubicBezTo>
                    <a:pt x="135783" y="224120"/>
                    <a:pt x="141208" y="229401"/>
                    <a:pt x="147811" y="229311"/>
                  </a:cubicBezTo>
                  <a:cubicBezTo>
                    <a:pt x="147811" y="229311"/>
                    <a:pt x="147813" y="229311"/>
                    <a:pt x="147813" y="229311"/>
                  </a:cubicBezTo>
                  <a:cubicBezTo>
                    <a:pt x="154410" y="229265"/>
                    <a:pt x="159723" y="223886"/>
                    <a:pt x="159687" y="217289"/>
                  </a:cubicBezTo>
                  <a:lnTo>
                    <a:pt x="159114" y="159179"/>
                  </a:lnTo>
                  <a:cubicBezTo>
                    <a:pt x="159016" y="152582"/>
                    <a:pt x="153591" y="147312"/>
                    <a:pt x="146994" y="147404"/>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grpSp>
      <p:grpSp>
        <p:nvGrpSpPr>
          <p:cNvPr id="34" name="Group 33">
            <a:extLst>
              <a:ext uri="{FF2B5EF4-FFF2-40B4-BE49-F238E27FC236}">
                <a16:creationId xmlns:a16="http://schemas.microsoft.com/office/drawing/2014/main" id="{1D313AA3-479D-EB37-0824-514869C3B15F}"/>
              </a:ext>
            </a:extLst>
          </p:cNvPr>
          <p:cNvGrpSpPr/>
          <p:nvPr/>
        </p:nvGrpSpPr>
        <p:grpSpPr>
          <a:xfrm>
            <a:off x="2086116" y="2445707"/>
            <a:ext cx="780054" cy="780054"/>
            <a:chOff x="5705973" y="2217420"/>
            <a:chExt cx="780054" cy="780054"/>
          </a:xfrm>
        </p:grpSpPr>
        <p:sp>
          <p:nvSpPr>
            <p:cNvPr id="35" name="Freeform: Shape 33">
              <a:extLst>
                <a:ext uri="{FF2B5EF4-FFF2-40B4-BE49-F238E27FC236}">
                  <a16:creationId xmlns:a16="http://schemas.microsoft.com/office/drawing/2014/main" id="{E03347EA-9F00-F381-AEC1-F195A68B994E}"/>
                </a:ext>
                <a:ext uri="{C183D7F6-B498-43B3-948B-1728B52AA6E4}">
                  <adec:decorative xmlns:adec="http://schemas.microsoft.com/office/drawing/2017/decorative" val="1"/>
                </a:ext>
              </a:extLst>
            </p:cNvPr>
            <p:cNvSpPr>
              <a:spLocks/>
            </p:cNvSpPr>
            <p:nvPr/>
          </p:nvSpPr>
          <p:spPr bwMode="auto">
            <a:xfrm>
              <a:off x="5705973" y="2217420"/>
              <a:ext cx="780054" cy="78005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6" name="Graphic 69">
              <a:extLst>
                <a:ext uri="{FF2B5EF4-FFF2-40B4-BE49-F238E27FC236}">
                  <a16:creationId xmlns:a16="http://schemas.microsoft.com/office/drawing/2014/main" id="{EF17E0A0-7FA7-DE98-D291-B07F2FE4F1B5}"/>
                </a:ext>
              </a:extLst>
            </p:cNvPr>
            <p:cNvSpPr/>
            <p:nvPr/>
          </p:nvSpPr>
          <p:spPr>
            <a:xfrm>
              <a:off x="5901586" y="2411470"/>
              <a:ext cx="404766" cy="402521"/>
            </a:xfrm>
            <a:custGeom>
              <a:avLst/>
              <a:gdLst>
                <a:gd name="connsiteX0" fmla="*/ 232137 w 404766"/>
                <a:gd name="connsiteY0" fmla="*/ 59861 h 402521"/>
                <a:gd name="connsiteX1" fmla="*/ 330549 w 404766"/>
                <a:gd name="connsiteY1" fmla="*/ 158253 h 402521"/>
                <a:gd name="connsiteX2" fmla="*/ 311842 w 404766"/>
                <a:gd name="connsiteY2" fmla="*/ 176959 h 402521"/>
                <a:gd name="connsiteX3" fmla="*/ 175416 w 404766"/>
                <a:gd name="connsiteY3" fmla="*/ 292449 h 402521"/>
                <a:gd name="connsiteX4" fmla="*/ 175416 w 404766"/>
                <a:gd name="connsiteY4" fmla="*/ 313386 h 402521"/>
                <a:gd name="connsiteX5" fmla="*/ 137303 w 404766"/>
                <a:gd name="connsiteY5" fmla="*/ 351498 h 402521"/>
                <a:gd name="connsiteX6" fmla="*/ 117858 w 404766"/>
                <a:gd name="connsiteY6" fmla="*/ 362776 h 402521"/>
                <a:gd name="connsiteX7" fmla="*/ 18397 w 404766"/>
                <a:gd name="connsiteY7" fmla="*/ 389902 h 402521"/>
                <a:gd name="connsiteX8" fmla="*/ 507 w 404766"/>
                <a:gd name="connsiteY8" fmla="*/ 379639 h 402521"/>
                <a:gd name="connsiteX9" fmla="*/ 507 w 404766"/>
                <a:gd name="connsiteY9" fmla="*/ 372013 h 402521"/>
                <a:gd name="connsiteX10" fmla="*/ 27614 w 404766"/>
                <a:gd name="connsiteY10" fmla="*/ 272532 h 402521"/>
                <a:gd name="connsiteX11" fmla="*/ 38892 w 404766"/>
                <a:gd name="connsiteY11" fmla="*/ 253086 h 402521"/>
                <a:gd name="connsiteX12" fmla="*/ 232137 w 404766"/>
                <a:gd name="connsiteY12" fmla="*/ 59861 h 402521"/>
                <a:gd name="connsiteX13" fmla="*/ 370022 w 404766"/>
                <a:gd name="connsiteY13" fmla="*/ 20387 h 402521"/>
                <a:gd name="connsiteX14" fmla="*/ 370022 w 404766"/>
                <a:gd name="connsiteY14" fmla="*/ 118779 h 402521"/>
                <a:gd name="connsiteX15" fmla="*/ 351160 w 404766"/>
                <a:gd name="connsiteY15" fmla="*/ 137641 h 402521"/>
                <a:gd name="connsiteX16" fmla="*/ 252749 w 404766"/>
                <a:gd name="connsiteY16" fmla="*/ 39249 h 402521"/>
                <a:gd name="connsiteX17" fmla="*/ 271611 w 404766"/>
                <a:gd name="connsiteY17" fmla="*/ 20387 h 402521"/>
                <a:gd name="connsiteX18" fmla="*/ 370005 w 404766"/>
                <a:gd name="connsiteY18" fmla="*/ 20369 h 402521"/>
                <a:gd name="connsiteX19" fmla="*/ 370022 w 404766"/>
                <a:gd name="connsiteY19" fmla="*/ 20387 h 402521"/>
                <a:gd name="connsiteX20" fmla="*/ 238748 w 404766"/>
                <a:gd name="connsiteY20" fmla="*/ 234361 h 402521"/>
                <a:gd name="connsiteX21" fmla="*/ 212190 w 404766"/>
                <a:gd name="connsiteY21" fmla="*/ 282522 h 402521"/>
                <a:gd name="connsiteX22" fmla="*/ 210728 w 404766"/>
                <a:gd name="connsiteY22" fmla="*/ 282915 h 402521"/>
                <a:gd name="connsiteX23" fmla="*/ 199372 w 404766"/>
                <a:gd name="connsiteY23" fmla="*/ 285715 h 402521"/>
                <a:gd name="connsiteX24" fmla="*/ 199489 w 404766"/>
                <a:gd name="connsiteY24" fmla="*/ 320853 h 402521"/>
                <a:gd name="connsiteX25" fmla="*/ 209989 w 404766"/>
                <a:gd name="connsiteY25" fmla="*/ 323380 h 402521"/>
                <a:gd name="connsiteX26" fmla="*/ 238690 w 404766"/>
                <a:gd name="connsiteY26" fmla="*/ 370296 h 402521"/>
                <a:gd name="connsiteX27" fmla="*/ 238184 w 404766"/>
                <a:gd name="connsiteY27" fmla="*/ 372188 h 402521"/>
                <a:gd name="connsiteX28" fmla="*/ 234548 w 404766"/>
                <a:gd name="connsiteY28" fmla="*/ 384477 h 402521"/>
                <a:gd name="connsiteX29" fmla="*/ 263405 w 404766"/>
                <a:gd name="connsiteY29" fmla="*/ 402386 h 402521"/>
                <a:gd name="connsiteX30" fmla="*/ 273011 w 404766"/>
                <a:gd name="connsiteY30" fmla="*/ 392313 h 402521"/>
                <a:gd name="connsiteX31" fmla="*/ 327992 w 404766"/>
                <a:gd name="connsiteY31" fmla="*/ 390923 h 402521"/>
                <a:gd name="connsiteX32" fmla="*/ 329382 w 404766"/>
                <a:gd name="connsiteY32" fmla="*/ 392313 h 402521"/>
                <a:gd name="connsiteX33" fmla="*/ 339066 w 404766"/>
                <a:gd name="connsiteY33" fmla="*/ 402522 h 402521"/>
                <a:gd name="connsiteX34" fmla="*/ 367903 w 404766"/>
                <a:gd name="connsiteY34" fmla="*/ 384769 h 402521"/>
                <a:gd name="connsiteX35" fmla="*/ 364053 w 404766"/>
                <a:gd name="connsiteY35" fmla="*/ 371429 h 402521"/>
                <a:gd name="connsiteX36" fmla="*/ 390640 w 404766"/>
                <a:gd name="connsiteY36" fmla="*/ 323283 h 402521"/>
                <a:gd name="connsiteX37" fmla="*/ 392092 w 404766"/>
                <a:gd name="connsiteY37" fmla="*/ 322894 h 402521"/>
                <a:gd name="connsiteX38" fmla="*/ 403429 w 404766"/>
                <a:gd name="connsiteY38" fmla="*/ 320094 h 402521"/>
                <a:gd name="connsiteX39" fmla="*/ 403312 w 404766"/>
                <a:gd name="connsiteY39" fmla="*/ 284937 h 402521"/>
                <a:gd name="connsiteX40" fmla="*/ 392812 w 404766"/>
                <a:gd name="connsiteY40" fmla="*/ 282410 h 402521"/>
                <a:gd name="connsiteX41" fmla="*/ 364111 w 404766"/>
                <a:gd name="connsiteY41" fmla="*/ 235494 h 402521"/>
                <a:gd name="connsiteX42" fmla="*/ 364616 w 404766"/>
                <a:gd name="connsiteY42" fmla="*/ 233602 h 402521"/>
                <a:gd name="connsiteX43" fmla="*/ 368253 w 404766"/>
                <a:gd name="connsiteY43" fmla="*/ 221352 h 402521"/>
                <a:gd name="connsiteX44" fmla="*/ 339396 w 404766"/>
                <a:gd name="connsiteY44" fmla="*/ 203404 h 402521"/>
                <a:gd name="connsiteX45" fmla="*/ 329810 w 404766"/>
                <a:gd name="connsiteY45" fmla="*/ 213496 h 402521"/>
                <a:gd name="connsiteX46" fmla="*/ 274829 w 404766"/>
                <a:gd name="connsiteY46" fmla="*/ 214906 h 402521"/>
                <a:gd name="connsiteX47" fmla="*/ 273419 w 404766"/>
                <a:gd name="connsiteY47" fmla="*/ 213496 h 402521"/>
                <a:gd name="connsiteX48" fmla="*/ 263735 w 404766"/>
                <a:gd name="connsiteY48" fmla="*/ 203288 h 402521"/>
                <a:gd name="connsiteX49" fmla="*/ 234898 w 404766"/>
                <a:gd name="connsiteY49" fmla="*/ 221021 h 402521"/>
                <a:gd name="connsiteX50" fmla="*/ 238748 w 404766"/>
                <a:gd name="connsiteY50" fmla="*/ 234361 h 402521"/>
                <a:gd name="connsiteX51" fmla="*/ 301381 w 404766"/>
                <a:gd name="connsiteY51" fmla="*/ 332092 h 402521"/>
                <a:gd name="connsiteX52" fmla="*/ 273186 w 404766"/>
                <a:gd name="connsiteY52" fmla="*/ 302924 h 402521"/>
                <a:gd name="connsiteX53" fmla="*/ 301381 w 404766"/>
                <a:gd name="connsiteY53" fmla="*/ 273757 h 402521"/>
                <a:gd name="connsiteX54" fmla="*/ 329576 w 404766"/>
                <a:gd name="connsiteY54" fmla="*/ 302924 h 402521"/>
                <a:gd name="connsiteX55" fmla="*/ 301381 w 404766"/>
                <a:gd name="connsiteY55" fmla="*/ 332092 h 40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04766" h="402521">
                  <a:moveTo>
                    <a:pt x="232137" y="59861"/>
                  </a:moveTo>
                  <a:lnTo>
                    <a:pt x="330549" y="158253"/>
                  </a:lnTo>
                  <a:lnTo>
                    <a:pt x="311842" y="176959"/>
                  </a:lnTo>
                  <a:cubicBezTo>
                    <a:pt x="242278" y="171178"/>
                    <a:pt x="181197" y="222884"/>
                    <a:pt x="175416" y="292449"/>
                  </a:cubicBezTo>
                  <a:cubicBezTo>
                    <a:pt x="174836" y="299416"/>
                    <a:pt x="174836" y="306418"/>
                    <a:pt x="175416" y="313386"/>
                  </a:cubicBezTo>
                  <a:lnTo>
                    <a:pt x="137303" y="351498"/>
                  </a:lnTo>
                  <a:cubicBezTo>
                    <a:pt x="131915" y="356886"/>
                    <a:pt x="125212" y="360775"/>
                    <a:pt x="117858" y="362776"/>
                  </a:cubicBezTo>
                  <a:lnTo>
                    <a:pt x="18397" y="389902"/>
                  </a:lnTo>
                  <a:cubicBezTo>
                    <a:pt x="10622" y="392008"/>
                    <a:pt x="2613" y="387413"/>
                    <a:pt x="507" y="379639"/>
                  </a:cubicBezTo>
                  <a:cubicBezTo>
                    <a:pt x="-169" y="377142"/>
                    <a:pt x="-169" y="374509"/>
                    <a:pt x="507" y="372013"/>
                  </a:cubicBezTo>
                  <a:lnTo>
                    <a:pt x="27614" y="272532"/>
                  </a:lnTo>
                  <a:cubicBezTo>
                    <a:pt x="29615" y="265177"/>
                    <a:pt x="33503" y="258475"/>
                    <a:pt x="38892" y="253086"/>
                  </a:cubicBezTo>
                  <a:lnTo>
                    <a:pt x="232137" y="59861"/>
                  </a:lnTo>
                  <a:close/>
                  <a:moveTo>
                    <a:pt x="370022" y="20387"/>
                  </a:moveTo>
                  <a:cubicBezTo>
                    <a:pt x="397181" y="47562"/>
                    <a:pt x="397181" y="91604"/>
                    <a:pt x="370022" y="118779"/>
                  </a:cubicBezTo>
                  <a:lnTo>
                    <a:pt x="351160" y="137641"/>
                  </a:lnTo>
                  <a:lnTo>
                    <a:pt x="252749" y="39249"/>
                  </a:lnTo>
                  <a:lnTo>
                    <a:pt x="271611" y="20387"/>
                  </a:lnTo>
                  <a:cubicBezTo>
                    <a:pt x="298775" y="-6789"/>
                    <a:pt x="342828" y="-6797"/>
                    <a:pt x="370005" y="20369"/>
                  </a:cubicBezTo>
                  <a:cubicBezTo>
                    <a:pt x="370010" y="20375"/>
                    <a:pt x="370016" y="20381"/>
                    <a:pt x="370022" y="20387"/>
                  </a:cubicBezTo>
                  <a:close/>
                  <a:moveTo>
                    <a:pt x="238748" y="234361"/>
                  </a:moveTo>
                  <a:cubicBezTo>
                    <a:pt x="244714" y="254994"/>
                    <a:pt x="232823" y="276557"/>
                    <a:pt x="212190" y="282522"/>
                  </a:cubicBezTo>
                  <a:cubicBezTo>
                    <a:pt x="211706" y="282662"/>
                    <a:pt x="211218" y="282795"/>
                    <a:pt x="210728" y="282915"/>
                  </a:cubicBezTo>
                  <a:lnTo>
                    <a:pt x="199372" y="285715"/>
                  </a:lnTo>
                  <a:cubicBezTo>
                    <a:pt x="197552" y="297361"/>
                    <a:pt x="197591" y="309220"/>
                    <a:pt x="199489" y="320853"/>
                  </a:cubicBezTo>
                  <a:lnTo>
                    <a:pt x="209989" y="323380"/>
                  </a:lnTo>
                  <a:cubicBezTo>
                    <a:pt x="230871" y="328411"/>
                    <a:pt x="243720" y="349415"/>
                    <a:pt x="238690" y="370296"/>
                  </a:cubicBezTo>
                  <a:cubicBezTo>
                    <a:pt x="238538" y="370931"/>
                    <a:pt x="238369" y="371561"/>
                    <a:pt x="238184" y="372188"/>
                  </a:cubicBezTo>
                  <a:lnTo>
                    <a:pt x="234548" y="384477"/>
                  </a:lnTo>
                  <a:cubicBezTo>
                    <a:pt x="243104" y="391983"/>
                    <a:pt x="252827" y="398069"/>
                    <a:pt x="263405" y="402386"/>
                  </a:cubicBezTo>
                  <a:lnTo>
                    <a:pt x="273011" y="392313"/>
                  </a:lnTo>
                  <a:cubicBezTo>
                    <a:pt x="287810" y="376747"/>
                    <a:pt x="312426" y="376125"/>
                    <a:pt x="327992" y="390923"/>
                  </a:cubicBezTo>
                  <a:cubicBezTo>
                    <a:pt x="328466" y="391374"/>
                    <a:pt x="328931" y="391839"/>
                    <a:pt x="329382" y="392313"/>
                  </a:cubicBezTo>
                  <a:lnTo>
                    <a:pt x="339066" y="402522"/>
                  </a:lnTo>
                  <a:cubicBezTo>
                    <a:pt x="349595" y="398240"/>
                    <a:pt x="359339" y="392241"/>
                    <a:pt x="367903" y="384769"/>
                  </a:cubicBezTo>
                  <a:lnTo>
                    <a:pt x="364053" y="371429"/>
                  </a:lnTo>
                  <a:cubicBezTo>
                    <a:pt x="358098" y="350792"/>
                    <a:pt x="370003" y="329237"/>
                    <a:pt x="390640" y="323283"/>
                  </a:cubicBezTo>
                  <a:cubicBezTo>
                    <a:pt x="391122" y="323145"/>
                    <a:pt x="391606" y="323015"/>
                    <a:pt x="392092" y="322894"/>
                  </a:cubicBezTo>
                  <a:lnTo>
                    <a:pt x="403429" y="320094"/>
                  </a:lnTo>
                  <a:cubicBezTo>
                    <a:pt x="405251" y="308443"/>
                    <a:pt x="405212" y="296575"/>
                    <a:pt x="403312" y="284937"/>
                  </a:cubicBezTo>
                  <a:lnTo>
                    <a:pt x="392812" y="282410"/>
                  </a:lnTo>
                  <a:cubicBezTo>
                    <a:pt x="371930" y="277379"/>
                    <a:pt x="359080" y="256375"/>
                    <a:pt x="364111" y="235494"/>
                  </a:cubicBezTo>
                  <a:cubicBezTo>
                    <a:pt x="364263" y="234859"/>
                    <a:pt x="364432" y="234229"/>
                    <a:pt x="364616" y="233602"/>
                  </a:cubicBezTo>
                  <a:lnTo>
                    <a:pt x="368253" y="221352"/>
                  </a:lnTo>
                  <a:cubicBezTo>
                    <a:pt x="359697" y="213807"/>
                    <a:pt x="349945" y="207742"/>
                    <a:pt x="339396" y="203404"/>
                  </a:cubicBezTo>
                  <a:lnTo>
                    <a:pt x="329810" y="213496"/>
                  </a:lnTo>
                  <a:cubicBezTo>
                    <a:pt x="315016" y="229068"/>
                    <a:pt x="290400" y="229700"/>
                    <a:pt x="274829" y="214906"/>
                  </a:cubicBezTo>
                  <a:cubicBezTo>
                    <a:pt x="274347" y="214449"/>
                    <a:pt x="273876" y="213978"/>
                    <a:pt x="273419" y="213496"/>
                  </a:cubicBezTo>
                  <a:lnTo>
                    <a:pt x="263735" y="203288"/>
                  </a:lnTo>
                  <a:cubicBezTo>
                    <a:pt x="253157" y="207565"/>
                    <a:pt x="243435" y="213593"/>
                    <a:pt x="234898" y="221021"/>
                  </a:cubicBezTo>
                  <a:lnTo>
                    <a:pt x="238748" y="234361"/>
                  </a:lnTo>
                  <a:close/>
                  <a:moveTo>
                    <a:pt x="301381" y="332092"/>
                  </a:moveTo>
                  <a:cubicBezTo>
                    <a:pt x="285825" y="332092"/>
                    <a:pt x="273186" y="319025"/>
                    <a:pt x="273186" y="302924"/>
                  </a:cubicBezTo>
                  <a:cubicBezTo>
                    <a:pt x="273186" y="286804"/>
                    <a:pt x="285825" y="273757"/>
                    <a:pt x="301381" y="273757"/>
                  </a:cubicBezTo>
                  <a:cubicBezTo>
                    <a:pt x="316937" y="273757"/>
                    <a:pt x="329576" y="286804"/>
                    <a:pt x="329576" y="302924"/>
                  </a:cubicBezTo>
                  <a:cubicBezTo>
                    <a:pt x="329576" y="319025"/>
                    <a:pt x="316937" y="332092"/>
                    <a:pt x="301381" y="332092"/>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grpSp>
      <p:grpSp>
        <p:nvGrpSpPr>
          <p:cNvPr id="37" name="Group 36">
            <a:extLst>
              <a:ext uri="{FF2B5EF4-FFF2-40B4-BE49-F238E27FC236}">
                <a16:creationId xmlns:a16="http://schemas.microsoft.com/office/drawing/2014/main" id="{7C852B17-E515-E430-A8DC-2B96CA00057A}"/>
              </a:ext>
            </a:extLst>
          </p:cNvPr>
          <p:cNvGrpSpPr/>
          <p:nvPr/>
        </p:nvGrpSpPr>
        <p:grpSpPr>
          <a:xfrm>
            <a:off x="9335861" y="2478048"/>
            <a:ext cx="780054" cy="780054"/>
            <a:chOff x="9335861" y="2218072"/>
            <a:chExt cx="780054" cy="780054"/>
          </a:xfrm>
        </p:grpSpPr>
        <p:sp>
          <p:nvSpPr>
            <p:cNvPr id="38" name="Freeform: Shape 33">
              <a:extLst>
                <a:ext uri="{FF2B5EF4-FFF2-40B4-BE49-F238E27FC236}">
                  <a16:creationId xmlns:a16="http://schemas.microsoft.com/office/drawing/2014/main" id="{42F139E6-CA92-B1B3-AFBB-2977BA7C2DE6}"/>
                </a:ext>
                <a:ext uri="{C183D7F6-B498-43B3-948B-1728B52AA6E4}">
                  <adec:decorative xmlns:adec="http://schemas.microsoft.com/office/drawing/2017/decorative" val="1"/>
                </a:ext>
              </a:extLst>
            </p:cNvPr>
            <p:cNvSpPr>
              <a:spLocks/>
            </p:cNvSpPr>
            <p:nvPr/>
          </p:nvSpPr>
          <p:spPr bwMode="auto">
            <a:xfrm>
              <a:off x="9335861" y="2218072"/>
              <a:ext cx="780054" cy="78005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C8B5ADC-7291-761B-F5DB-C7AF824F695D}"/>
                </a:ext>
              </a:extLst>
            </p:cNvPr>
            <p:cNvGrpSpPr/>
            <p:nvPr/>
          </p:nvGrpSpPr>
          <p:grpSpPr>
            <a:xfrm>
              <a:off x="9525301" y="2407512"/>
              <a:ext cx="401173" cy="401173"/>
              <a:chOff x="9525301" y="2407512"/>
              <a:chExt cx="401173" cy="401173"/>
            </a:xfrm>
          </p:grpSpPr>
          <p:sp>
            <p:nvSpPr>
              <p:cNvPr id="40" name="Freeform: Shape 39">
                <a:extLst>
                  <a:ext uri="{FF2B5EF4-FFF2-40B4-BE49-F238E27FC236}">
                    <a16:creationId xmlns:a16="http://schemas.microsoft.com/office/drawing/2014/main" id="{117ED06B-1F87-38EF-9D73-A78BC15999EC}"/>
                  </a:ext>
                </a:extLst>
              </p:cNvPr>
              <p:cNvSpPr/>
              <p:nvPr/>
            </p:nvSpPr>
            <p:spPr>
              <a:xfrm>
                <a:off x="9525301" y="2407512"/>
                <a:ext cx="401173" cy="401173"/>
              </a:xfrm>
              <a:custGeom>
                <a:avLst/>
                <a:gdLst>
                  <a:gd name="connsiteX0" fmla="*/ 0 w 401173"/>
                  <a:gd name="connsiteY0" fmla="*/ 16716 h 401173"/>
                  <a:gd name="connsiteX1" fmla="*/ 16716 w 401173"/>
                  <a:gd name="connsiteY1" fmla="*/ 0 h 401173"/>
                  <a:gd name="connsiteX2" fmla="*/ 33431 w 401173"/>
                  <a:gd name="connsiteY2" fmla="*/ 16716 h 401173"/>
                  <a:gd name="connsiteX3" fmla="*/ 33431 w 401173"/>
                  <a:gd name="connsiteY3" fmla="*/ 367742 h 401173"/>
                  <a:gd name="connsiteX4" fmla="*/ 384458 w 401173"/>
                  <a:gd name="connsiteY4" fmla="*/ 367742 h 401173"/>
                  <a:gd name="connsiteX5" fmla="*/ 401174 w 401173"/>
                  <a:gd name="connsiteY5" fmla="*/ 384458 h 401173"/>
                  <a:gd name="connsiteX6" fmla="*/ 384458 w 401173"/>
                  <a:gd name="connsiteY6" fmla="*/ 401174 h 401173"/>
                  <a:gd name="connsiteX7" fmla="*/ 16716 w 401173"/>
                  <a:gd name="connsiteY7" fmla="*/ 401174 h 401173"/>
                  <a:gd name="connsiteX8" fmla="*/ 0 w 401173"/>
                  <a:gd name="connsiteY8" fmla="*/ 384458 h 401173"/>
                  <a:gd name="connsiteX9" fmla="*/ 0 w 401173"/>
                  <a:gd name="connsiteY9" fmla="*/ 16716 h 40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173" h="401173">
                    <a:moveTo>
                      <a:pt x="0" y="16716"/>
                    </a:moveTo>
                    <a:cubicBezTo>
                      <a:pt x="0" y="7484"/>
                      <a:pt x="7484" y="0"/>
                      <a:pt x="16716" y="0"/>
                    </a:cubicBezTo>
                    <a:cubicBezTo>
                      <a:pt x="25947" y="0"/>
                      <a:pt x="33431" y="7484"/>
                      <a:pt x="33431" y="16716"/>
                    </a:cubicBezTo>
                    <a:lnTo>
                      <a:pt x="33431" y="367742"/>
                    </a:lnTo>
                    <a:lnTo>
                      <a:pt x="384458" y="367742"/>
                    </a:lnTo>
                    <a:cubicBezTo>
                      <a:pt x="393689" y="367742"/>
                      <a:pt x="401174" y="375227"/>
                      <a:pt x="401174" y="384458"/>
                    </a:cubicBezTo>
                    <a:cubicBezTo>
                      <a:pt x="401174" y="393689"/>
                      <a:pt x="393689" y="401174"/>
                      <a:pt x="384458" y="401174"/>
                    </a:cubicBezTo>
                    <a:lnTo>
                      <a:pt x="16716" y="401174"/>
                    </a:lnTo>
                    <a:cubicBezTo>
                      <a:pt x="7484" y="401174"/>
                      <a:pt x="0" y="393689"/>
                      <a:pt x="0" y="384458"/>
                    </a:cubicBezTo>
                    <a:lnTo>
                      <a:pt x="0" y="16716"/>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sp>
            <p:nvSpPr>
              <p:cNvPr id="41" name="Freeform: Shape 40">
                <a:extLst>
                  <a:ext uri="{FF2B5EF4-FFF2-40B4-BE49-F238E27FC236}">
                    <a16:creationId xmlns:a16="http://schemas.microsoft.com/office/drawing/2014/main" id="{D87919CB-8DE5-412B-0F00-FE56C8276E13}"/>
                  </a:ext>
                </a:extLst>
              </p:cNvPr>
              <p:cNvSpPr/>
              <p:nvPr/>
            </p:nvSpPr>
            <p:spPr>
              <a:xfrm>
                <a:off x="9581019" y="2474374"/>
                <a:ext cx="312023" cy="278592"/>
              </a:xfrm>
              <a:custGeom>
                <a:avLst/>
                <a:gdLst>
                  <a:gd name="connsiteX0" fmla="*/ 312024 w 312023"/>
                  <a:gd name="connsiteY0" fmla="*/ 16716 h 278592"/>
                  <a:gd name="connsiteX1" fmla="*/ 295308 w 312023"/>
                  <a:gd name="connsiteY1" fmla="*/ 0 h 278592"/>
                  <a:gd name="connsiteX2" fmla="*/ 285279 w 312023"/>
                  <a:gd name="connsiteY2" fmla="*/ 3343 h 278592"/>
                  <a:gd name="connsiteX3" fmla="*/ 160469 w 312023"/>
                  <a:gd name="connsiteY3" fmla="*/ 96950 h 278592"/>
                  <a:gd name="connsiteX4" fmla="*/ 75331 w 312023"/>
                  <a:gd name="connsiteY4" fmla="*/ 46893 h 278592"/>
                  <a:gd name="connsiteX5" fmla="*/ 59396 w 312023"/>
                  <a:gd name="connsiteY5" fmla="*/ 46336 h 278592"/>
                  <a:gd name="connsiteX6" fmla="*/ 0 w 312023"/>
                  <a:gd name="connsiteY6" fmla="*/ 76022 h 278592"/>
                  <a:gd name="connsiteX7" fmla="*/ 0 w 312023"/>
                  <a:gd name="connsiteY7" fmla="*/ 278593 h 278592"/>
                  <a:gd name="connsiteX8" fmla="*/ 312024 w 312023"/>
                  <a:gd name="connsiteY8" fmla="*/ 278593 h 278592"/>
                  <a:gd name="connsiteX9" fmla="*/ 312024 w 312023"/>
                  <a:gd name="connsiteY9" fmla="*/ 16716 h 27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023" h="278592">
                    <a:moveTo>
                      <a:pt x="312024" y="16716"/>
                    </a:moveTo>
                    <a:cubicBezTo>
                      <a:pt x="312024" y="7484"/>
                      <a:pt x="304540" y="0"/>
                      <a:pt x="295308" y="0"/>
                    </a:cubicBezTo>
                    <a:cubicBezTo>
                      <a:pt x="291691" y="0"/>
                      <a:pt x="288172" y="1173"/>
                      <a:pt x="285279" y="3343"/>
                    </a:cubicBezTo>
                    <a:lnTo>
                      <a:pt x="160469" y="96950"/>
                    </a:lnTo>
                    <a:lnTo>
                      <a:pt x="75331" y="46893"/>
                    </a:lnTo>
                    <a:cubicBezTo>
                      <a:pt x="70456" y="44022"/>
                      <a:pt x="64460" y="43813"/>
                      <a:pt x="59396" y="46336"/>
                    </a:cubicBezTo>
                    <a:lnTo>
                      <a:pt x="0" y="76022"/>
                    </a:lnTo>
                    <a:lnTo>
                      <a:pt x="0" y="278593"/>
                    </a:lnTo>
                    <a:lnTo>
                      <a:pt x="312024" y="278593"/>
                    </a:lnTo>
                    <a:lnTo>
                      <a:pt x="312024" y="16716"/>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grpSp>
      </p:grpSp>
    </p:spTree>
    <p:extLst>
      <p:ext uri="{BB962C8B-B14F-4D97-AF65-F5344CB8AC3E}">
        <p14:creationId xmlns:p14="http://schemas.microsoft.com/office/powerpoint/2010/main" val="110960327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72AC1-2A6E-0D41-938A-B15F830794F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62132D9-7EEE-092D-FE4F-F39ED26AE4B7}"/>
              </a:ext>
            </a:extLst>
          </p:cNvPr>
          <p:cNvSpPr>
            <a:spLocks noGrp="1"/>
          </p:cNvSpPr>
          <p:nvPr>
            <p:ph type="title"/>
          </p:nvPr>
        </p:nvSpPr>
        <p:spPr>
          <a:xfrm>
            <a:off x="583375" y="2598003"/>
            <a:ext cx="4143004" cy="1107996"/>
          </a:xfrm>
        </p:spPr>
        <p:txBody>
          <a:bodyPr/>
          <a:lstStyle/>
          <a:p>
            <a:r>
              <a:rPr lang="en-US" sz="4000" dirty="0">
                <a:cs typeface="Segoe Sans Display"/>
              </a:rPr>
              <a:t>Agent 365 – Frontier Preview</a:t>
            </a:r>
            <a:endParaRPr lang="en-US" sz="4000" dirty="0"/>
          </a:p>
        </p:txBody>
      </p:sp>
    </p:spTree>
    <p:extLst>
      <p:ext uri="{BB962C8B-B14F-4D97-AF65-F5344CB8AC3E}">
        <p14:creationId xmlns:p14="http://schemas.microsoft.com/office/powerpoint/2010/main" val="216225320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D112A-8F4B-0047-D917-6368FBE1B2C9}"/>
            </a:ext>
          </a:extLst>
        </p:cNvPr>
        <p:cNvGrpSpPr/>
        <p:nvPr/>
      </p:nvGrpSpPr>
      <p:grpSpPr>
        <a:xfrm>
          <a:off x="0" y="0"/>
          <a:ext cx="0" cy="0"/>
          <a:chOff x="0" y="0"/>
          <a:chExt cx="0" cy="0"/>
        </a:xfrm>
      </p:grpSpPr>
      <p:grpSp>
        <p:nvGrpSpPr>
          <p:cNvPr id="2" name="agent group depth. 2">
            <a:extLst>
              <a:ext uri="{FF2B5EF4-FFF2-40B4-BE49-F238E27FC236}">
                <a16:creationId xmlns:a16="http://schemas.microsoft.com/office/drawing/2014/main" id="{3398A12F-69B4-B862-6372-93DEB5F6C8C3}"/>
              </a:ext>
            </a:extLst>
          </p:cNvPr>
          <p:cNvGrpSpPr/>
          <p:nvPr/>
        </p:nvGrpSpPr>
        <p:grpSpPr>
          <a:xfrm>
            <a:off x="-393581" y="1239053"/>
            <a:ext cx="13717696" cy="4298365"/>
            <a:chOff x="-383601" y="1700413"/>
            <a:chExt cx="32285378" cy="10116446"/>
          </a:xfrm>
        </p:grpSpPr>
        <p:grpSp>
          <p:nvGrpSpPr>
            <p:cNvPr id="3" name="Group 2" descr="A graphic of the Agentic Web, with multicolored stars representing agents. A web of grey lines behind the stars connect them.">
              <a:extLst>
                <a:ext uri="{FF2B5EF4-FFF2-40B4-BE49-F238E27FC236}">
                  <a16:creationId xmlns:a16="http://schemas.microsoft.com/office/drawing/2014/main" id="{A04A6B48-3554-BC02-6A1B-09647F1A96FF}"/>
                </a:ext>
              </a:extLst>
            </p:cNvPr>
            <p:cNvGrpSpPr/>
            <p:nvPr/>
          </p:nvGrpSpPr>
          <p:grpSpPr>
            <a:xfrm>
              <a:off x="-383601" y="1981204"/>
              <a:ext cx="32285378" cy="9601196"/>
              <a:chOff x="-597159" y="821094"/>
              <a:chExt cx="21889616" cy="5206482"/>
            </a:xfrm>
          </p:grpSpPr>
          <p:sp>
            <p:nvSpPr>
              <p:cNvPr id="52" name="Freeform 51">
                <a:extLst>
                  <a:ext uri="{FF2B5EF4-FFF2-40B4-BE49-F238E27FC236}">
                    <a16:creationId xmlns:a16="http://schemas.microsoft.com/office/drawing/2014/main" id="{F5A46A6F-42E4-8AEB-B53F-E2CFDD10E0FD}"/>
                  </a:ext>
                </a:extLst>
              </p:cNvPr>
              <p:cNvSpPr/>
              <p:nvPr/>
            </p:nvSpPr>
            <p:spPr bwMode="auto">
              <a:xfrm>
                <a:off x="14481110" y="4236098"/>
                <a:ext cx="1306286" cy="1268963"/>
              </a:xfrm>
              <a:custGeom>
                <a:avLst/>
                <a:gdLst>
                  <a:gd name="connsiteX0" fmla="*/ 0 w 1306286"/>
                  <a:gd name="connsiteY0" fmla="*/ 298580 h 1268963"/>
                  <a:gd name="connsiteX1" fmla="*/ 1306286 w 1306286"/>
                  <a:gd name="connsiteY1" fmla="*/ 0 h 1268963"/>
                  <a:gd name="connsiteX2" fmla="*/ 765110 w 1306286"/>
                  <a:gd name="connsiteY2" fmla="*/ 1268963 h 1268963"/>
                </a:gdLst>
                <a:ahLst/>
                <a:cxnLst>
                  <a:cxn ang="0">
                    <a:pos x="connsiteX0" y="connsiteY0"/>
                  </a:cxn>
                  <a:cxn ang="0">
                    <a:pos x="connsiteX1" y="connsiteY1"/>
                  </a:cxn>
                  <a:cxn ang="0">
                    <a:pos x="connsiteX2" y="connsiteY2"/>
                  </a:cxn>
                </a:cxnLst>
                <a:rect l="l" t="t" r="r" b="b"/>
                <a:pathLst>
                  <a:path w="1306286" h="1268963">
                    <a:moveTo>
                      <a:pt x="0" y="298580"/>
                    </a:moveTo>
                    <a:lnTo>
                      <a:pt x="1306286" y="0"/>
                    </a:lnTo>
                    <a:lnTo>
                      <a:pt x="765110" y="126896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52">
                <a:extLst>
                  <a:ext uri="{FF2B5EF4-FFF2-40B4-BE49-F238E27FC236}">
                    <a16:creationId xmlns:a16="http://schemas.microsoft.com/office/drawing/2014/main" id="{AB835817-1148-CEE5-6B36-2D0B13A23B6B}"/>
                  </a:ext>
                </a:extLst>
              </p:cNvPr>
              <p:cNvSpPr/>
              <p:nvPr/>
            </p:nvSpPr>
            <p:spPr bwMode="auto">
              <a:xfrm>
                <a:off x="-597159" y="2388637"/>
                <a:ext cx="1455575" cy="2593910"/>
              </a:xfrm>
              <a:custGeom>
                <a:avLst/>
                <a:gdLst>
                  <a:gd name="connsiteX0" fmla="*/ 167951 w 1455575"/>
                  <a:gd name="connsiteY0" fmla="*/ 0 h 2593910"/>
                  <a:gd name="connsiteX1" fmla="*/ 1063690 w 1455575"/>
                  <a:gd name="connsiteY1" fmla="*/ 167951 h 2593910"/>
                  <a:gd name="connsiteX2" fmla="*/ 783771 w 1455575"/>
                  <a:gd name="connsiteY2" fmla="*/ 895739 h 2593910"/>
                  <a:gd name="connsiteX3" fmla="*/ 0 w 1455575"/>
                  <a:gd name="connsiteY3" fmla="*/ 1063690 h 2593910"/>
                  <a:gd name="connsiteX4" fmla="*/ 298579 w 1455575"/>
                  <a:gd name="connsiteY4" fmla="*/ 2593910 h 2593910"/>
                  <a:gd name="connsiteX5" fmla="*/ 1455575 w 1455575"/>
                  <a:gd name="connsiteY5" fmla="*/ 2146041 h 2593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575" h="2593910">
                    <a:moveTo>
                      <a:pt x="167951" y="0"/>
                    </a:moveTo>
                    <a:lnTo>
                      <a:pt x="1063690" y="167951"/>
                    </a:lnTo>
                    <a:lnTo>
                      <a:pt x="783771" y="895739"/>
                    </a:lnTo>
                    <a:lnTo>
                      <a:pt x="0" y="1063690"/>
                    </a:lnTo>
                    <a:lnTo>
                      <a:pt x="298579" y="2593910"/>
                    </a:lnTo>
                    <a:lnTo>
                      <a:pt x="1455575" y="2146041"/>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54" name="Freeform 53">
                <a:extLst>
                  <a:ext uri="{FF2B5EF4-FFF2-40B4-BE49-F238E27FC236}">
                    <a16:creationId xmlns:a16="http://schemas.microsoft.com/office/drawing/2014/main" id="{AAA9598B-E5B4-234D-8420-85FA344E5379}"/>
                  </a:ext>
                </a:extLst>
              </p:cNvPr>
              <p:cNvSpPr/>
              <p:nvPr/>
            </p:nvSpPr>
            <p:spPr bwMode="auto">
              <a:xfrm>
                <a:off x="19239722" y="3097763"/>
                <a:ext cx="2052735" cy="2463282"/>
              </a:xfrm>
              <a:custGeom>
                <a:avLst/>
                <a:gdLst>
                  <a:gd name="connsiteX0" fmla="*/ 2052735 w 2052735"/>
                  <a:gd name="connsiteY0" fmla="*/ 0 h 2463282"/>
                  <a:gd name="connsiteX1" fmla="*/ 877078 w 2052735"/>
                  <a:gd name="connsiteY1" fmla="*/ 93306 h 2463282"/>
                  <a:gd name="connsiteX2" fmla="*/ 0 w 2052735"/>
                  <a:gd name="connsiteY2" fmla="*/ 2220686 h 2463282"/>
                  <a:gd name="connsiteX3" fmla="*/ 1754156 w 2052735"/>
                  <a:gd name="connsiteY3" fmla="*/ 2463282 h 2463282"/>
                </a:gdLst>
                <a:ahLst/>
                <a:cxnLst>
                  <a:cxn ang="0">
                    <a:pos x="connsiteX0" y="connsiteY0"/>
                  </a:cxn>
                  <a:cxn ang="0">
                    <a:pos x="connsiteX1" y="connsiteY1"/>
                  </a:cxn>
                  <a:cxn ang="0">
                    <a:pos x="connsiteX2" y="connsiteY2"/>
                  </a:cxn>
                  <a:cxn ang="0">
                    <a:pos x="connsiteX3" y="connsiteY3"/>
                  </a:cxn>
                </a:cxnLst>
                <a:rect l="l" t="t" r="r" b="b"/>
                <a:pathLst>
                  <a:path w="2052735" h="2463282">
                    <a:moveTo>
                      <a:pt x="2052735" y="0"/>
                    </a:moveTo>
                    <a:lnTo>
                      <a:pt x="877078" y="93306"/>
                    </a:lnTo>
                    <a:lnTo>
                      <a:pt x="0" y="2220686"/>
                    </a:lnTo>
                    <a:lnTo>
                      <a:pt x="1754156" y="246328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54">
                <a:extLst>
                  <a:ext uri="{FF2B5EF4-FFF2-40B4-BE49-F238E27FC236}">
                    <a16:creationId xmlns:a16="http://schemas.microsoft.com/office/drawing/2014/main" id="{46674EC1-69CD-F421-17D9-DEFACFA4CB53}"/>
                  </a:ext>
                </a:extLst>
              </p:cNvPr>
              <p:cNvSpPr/>
              <p:nvPr/>
            </p:nvSpPr>
            <p:spPr bwMode="auto">
              <a:xfrm>
                <a:off x="6438122" y="839755"/>
                <a:ext cx="2817845" cy="3694923"/>
              </a:xfrm>
              <a:custGeom>
                <a:avLst/>
                <a:gdLst>
                  <a:gd name="connsiteX0" fmla="*/ 2817845 w 2817845"/>
                  <a:gd name="connsiteY0" fmla="*/ 0 h 3694923"/>
                  <a:gd name="connsiteX1" fmla="*/ 877078 w 2817845"/>
                  <a:gd name="connsiteY1" fmla="*/ 1530221 h 3694923"/>
                  <a:gd name="connsiteX2" fmla="*/ 2108719 w 2817845"/>
                  <a:gd name="connsiteY2" fmla="*/ 1250302 h 3694923"/>
                  <a:gd name="connsiteX3" fmla="*/ 0 w 2817845"/>
                  <a:gd name="connsiteY3" fmla="*/ 2202025 h 3694923"/>
                  <a:gd name="connsiteX4" fmla="*/ 2164702 w 2817845"/>
                  <a:gd name="connsiteY4" fmla="*/ 2481943 h 3694923"/>
                  <a:gd name="connsiteX5" fmla="*/ 1026368 w 2817845"/>
                  <a:gd name="connsiteY5" fmla="*/ 3116425 h 3694923"/>
                  <a:gd name="connsiteX6" fmla="*/ 503854 w 2817845"/>
                  <a:gd name="connsiteY6" fmla="*/ 3694923 h 369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7845" h="3694923">
                    <a:moveTo>
                      <a:pt x="2817845" y="0"/>
                    </a:moveTo>
                    <a:lnTo>
                      <a:pt x="877078" y="1530221"/>
                    </a:lnTo>
                    <a:lnTo>
                      <a:pt x="2108719" y="1250302"/>
                    </a:lnTo>
                    <a:lnTo>
                      <a:pt x="0" y="2202025"/>
                    </a:lnTo>
                    <a:lnTo>
                      <a:pt x="2164702" y="2481943"/>
                    </a:lnTo>
                    <a:lnTo>
                      <a:pt x="1026368" y="3116425"/>
                    </a:lnTo>
                    <a:lnTo>
                      <a:pt x="503854" y="369492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55">
                <a:extLst>
                  <a:ext uri="{FF2B5EF4-FFF2-40B4-BE49-F238E27FC236}">
                    <a16:creationId xmlns:a16="http://schemas.microsoft.com/office/drawing/2014/main" id="{C5D6D479-01DA-2ABD-3EFB-17A616CF04C8}"/>
                  </a:ext>
                </a:extLst>
              </p:cNvPr>
              <p:cNvSpPr/>
              <p:nvPr/>
            </p:nvSpPr>
            <p:spPr bwMode="auto">
              <a:xfrm>
                <a:off x="3377682" y="2388637"/>
                <a:ext cx="3060440" cy="3638939"/>
              </a:xfrm>
              <a:custGeom>
                <a:avLst/>
                <a:gdLst>
                  <a:gd name="connsiteX0" fmla="*/ 317240 w 3060440"/>
                  <a:gd name="connsiteY0" fmla="*/ 839755 h 3638939"/>
                  <a:gd name="connsiteX1" fmla="*/ 1194318 w 3060440"/>
                  <a:gd name="connsiteY1" fmla="*/ 298579 h 3638939"/>
                  <a:gd name="connsiteX2" fmla="*/ 2444620 w 3060440"/>
                  <a:gd name="connsiteY2" fmla="*/ 0 h 3638939"/>
                  <a:gd name="connsiteX3" fmla="*/ 1343608 w 3060440"/>
                  <a:gd name="connsiteY3" fmla="*/ 1810139 h 3638939"/>
                  <a:gd name="connsiteX4" fmla="*/ 466530 w 3060440"/>
                  <a:gd name="connsiteY4" fmla="*/ 877077 h 3638939"/>
                  <a:gd name="connsiteX5" fmla="*/ 0 w 3060440"/>
                  <a:gd name="connsiteY5" fmla="*/ 1623526 h 3638939"/>
                  <a:gd name="connsiteX6" fmla="*/ 3060440 w 3060440"/>
                  <a:gd name="connsiteY6" fmla="*/ 3638939 h 363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440" h="3638939">
                    <a:moveTo>
                      <a:pt x="317240" y="839755"/>
                    </a:moveTo>
                    <a:lnTo>
                      <a:pt x="1194318" y="298579"/>
                    </a:lnTo>
                    <a:lnTo>
                      <a:pt x="2444620" y="0"/>
                    </a:lnTo>
                    <a:lnTo>
                      <a:pt x="1343608" y="1810139"/>
                    </a:lnTo>
                    <a:lnTo>
                      <a:pt x="466530" y="877077"/>
                    </a:lnTo>
                    <a:lnTo>
                      <a:pt x="0" y="1623526"/>
                    </a:lnTo>
                    <a:lnTo>
                      <a:pt x="3060440" y="36389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56">
                <a:extLst>
                  <a:ext uri="{FF2B5EF4-FFF2-40B4-BE49-F238E27FC236}">
                    <a16:creationId xmlns:a16="http://schemas.microsoft.com/office/drawing/2014/main" id="{CCA981E1-83A6-FABD-1FBB-E73DECEDA04B}"/>
                  </a:ext>
                </a:extLst>
              </p:cNvPr>
              <p:cNvSpPr/>
              <p:nvPr/>
            </p:nvSpPr>
            <p:spPr bwMode="auto">
              <a:xfrm>
                <a:off x="1324947" y="1399592"/>
                <a:ext cx="2313992" cy="1343608"/>
              </a:xfrm>
              <a:custGeom>
                <a:avLst/>
                <a:gdLst>
                  <a:gd name="connsiteX0" fmla="*/ 0 w 2313992"/>
                  <a:gd name="connsiteY0" fmla="*/ 1007706 h 1343608"/>
                  <a:gd name="connsiteX1" fmla="*/ 1045029 w 2313992"/>
                  <a:gd name="connsiteY1" fmla="*/ 1343608 h 1343608"/>
                  <a:gd name="connsiteX2" fmla="*/ 2108718 w 2313992"/>
                  <a:gd name="connsiteY2" fmla="*/ 0 h 1343608"/>
                  <a:gd name="connsiteX3" fmla="*/ 2108718 w 2313992"/>
                  <a:gd name="connsiteY3" fmla="*/ 0 h 1343608"/>
                  <a:gd name="connsiteX4" fmla="*/ 2313992 w 2313992"/>
                  <a:gd name="connsiteY4" fmla="*/ 653143 h 1343608"/>
                  <a:gd name="connsiteX5" fmla="*/ 1082351 w 2313992"/>
                  <a:gd name="connsiteY5" fmla="*/ 1324947 h 134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3992" h="1343608">
                    <a:moveTo>
                      <a:pt x="0" y="1007706"/>
                    </a:moveTo>
                    <a:lnTo>
                      <a:pt x="1045029" y="1343608"/>
                    </a:lnTo>
                    <a:lnTo>
                      <a:pt x="2108718" y="0"/>
                    </a:lnTo>
                    <a:lnTo>
                      <a:pt x="2108718" y="0"/>
                    </a:lnTo>
                    <a:lnTo>
                      <a:pt x="2313992" y="653143"/>
                    </a:lnTo>
                    <a:lnTo>
                      <a:pt x="1082351" y="1324947"/>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57">
                <a:extLst>
                  <a:ext uri="{FF2B5EF4-FFF2-40B4-BE49-F238E27FC236}">
                    <a16:creationId xmlns:a16="http://schemas.microsoft.com/office/drawing/2014/main" id="{6CDCC931-D436-2CD4-4FC3-EB5BD206DEF3}"/>
                  </a:ext>
                </a:extLst>
              </p:cNvPr>
              <p:cNvSpPr/>
              <p:nvPr/>
            </p:nvSpPr>
            <p:spPr bwMode="auto">
              <a:xfrm>
                <a:off x="447869" y="2090057"/>
                <a:ext cx="6064898" cy="3881535"/>
              </a:xfrm>
              <a:custGeom>
                <a:avLst/>
                <a:gdLst>
                  <a:gd name="connsiteX0" fmla="*/ 6064898 w 6064898"/>
                  <a:gd name="connsiteY0" fmla="*/ 3881535 h 3881535"/>
                  <a:gd name="connsiteX1" fmla="*/ 4348066 w 6064898"/>
                  <a:gd name="connsiteY1" fmla="*/ 2164702 h 3881535"/>
                  <a:gd name="connsiteX2" fmla="*/ 6027576 w 6064898"/>
                  <a:gd name="connsiteY2" fmla="*/ 989045 h 3881535"/>
                  <a:gd name="connsiteX3" fmla="*/ 6027576 w 6064898"/>
                  <a:gd name="connsiteY3" fmla="*/ 186612 h 3881535"/>
                  <a:gd name="connsiteX4" fmla="*/ 5299788 w 6064898"/>
                  <a:gd name="connsiteY4" fmla="*/ 317241 h 3881535"/>
                  <a:gd name="connsiteX5" fmla="*/ 3209731 w 6064898"/>
                  <a:gd name="connsiteY5" fmla="*/ 0 h 3881535"/>
                  <a:gd name="connsiteX6" fmla="*/ 3359021 w 6064898"/>
                  <a:gd name="connsiteY6" fmla="*/ 1119674 h 3881535"/>
                  <a:gd name="connsiteX7" fmla="*/ 317241 w 6064898"/>
                  <a:gd name="connsiteY7" fmla="*/ 2463282 h 3881535"/>
                  <a:gd name="connsiteX8" fmla="*/ 1306286 w 6064898"/>
                  <a:gd name="connsiteY8" fmla="*/ 1287625 h 3881535"/>
                  <a:gd name="connsiteX9" fmla="*/ 0 w 6064898"/>
                  <a:gd name="connsiteY9" fmla="*/ 466531 h 3881535"/>
                  <a:gd name="connsiteX10" fmla="*/ 858417 w 6064898"/>
                  <a:gd name="connsiteY10" fmla="*/ 354563 h 3881535"/>
                  <a:gd name="connsiteX11" fmla="*/ 1268964 w 6064898"/>
                  <a:gd name="connsiteY11" fmla="*/ 1250302 h 388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4898" h="3881535">
                    <a:moveTo>
                      <a:pt x="6064898" y="3881535"/>
                    </a:moveTo>
                    <a:lnTo>
                      <a:pt x="4348066" y="2164702"/>
                    </a:lnTo>
                    <a:lnTo>
                      <a:pt x="6027576" y="989045"/>
                    </a:lnTo>
                    <a:lnTo>
                      <a:pt x="6027576" y="186612"/>
                    </a:lnTo>
                    <a:lnTo>
                      <a:pt x="5299788" y="317241"/>
                    </a:lnTo>
                    <a:lnTo>
                      <a:pt x="3209731" y="0"/>
                    </a:lnTo>
                    <a:lnTo>
                      <a:pt x="3359021" y="1119674"/>
                    </a:lnTo>
                    <a:lnTo>
                      <a:pt x="317241" y="2463282"/>
                    </a:lnTo>
                    <a:lnTo>
                      <a:pt x="1306286" y="1287625"/>
                    </a:lnTo>
                    <a:lnTo>
                      <a:pt x="0" y="466531"/>
                    </a:lnTo>
                    <a:lnTo>
                      <a:pt x="858417" y="354563"/>
                    </a:lnTo>
                    <a:lnTo>
                      <a:pt x="1268964" y="125030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58">
                <a:extLst>
                  <a:ext uri="{FF2B5EF4-FFF2-40B4-BE49-F238E27FC236}">
                    <a16:creationId xmlns:a16="http://schemas.microsoft.com/office/drawing/2014/main" id="{B9DF264C-091B-3C70-1F92-B582FC72F67E}"/>
                  </a:ext>
                </a:extLst>
              </p:cNvPr>
              <p:cNvSpPr/>
              <p:nvPr/>
            </p:nvSpPr>
            <p:spPr bwMode="auto">
              <a:xfrm>
                <a:off x="6531429" y="2239347"/>
                <a:ext cx="14481110" cy="3769567"/>
              </a:xfrm>
              <a:custGeom>
                <a:avLst/>
                <a:gdLst>
                  <a:gd name="connsiteX0" fmla="*/ 14481110 w 14481110"/>
                  <a:gd name="connsiteY0" fmla="*/ 0 h 3769567"/>
                  <a:gd name="connsiteX1" fmla="*/ 11961844 w 14481110"/>
                  <a:gd name="connsiteY1" fmla="*/ 895739 h 3769567"/>
                  <a:gd name="connsiteX2" fmla="*/ 10599575 w 14481110"/>
                  <a:gd name="connsiteY2" fmla="*/ 989045 h 3769567"/>
                  <a:gd name="connsiteX3" fmla="*/ 9050693 w 14481110"/>
                  <a:gd name="connsiteY3" fmla="*/ 914400 h 3769567"/>
                  <a:gd name="connsiteX4" fmla="*/ 6699379 w 14481110"/>
                  <a:gd name="connsiteY4" fmla="*/ 1212980 h 3769567"/>
                  <a:gd name="connsiteX5" fmla="*/ 6736702 w 14481110"/>
                  <a:gd name="connsiteY5" fmla="*/ 2052735 h 3769567"/>
                  <a:gd name="connsiteX6" fmla="*/ 5710334 w 14481110"/>
                  <a:gd name="connsiteY6" fmla="*/ 2799184 h 3769567"/>
                  <a:gd name="connsiteX7" fmla="*/ 6736702 w 14481110"/>
                  <a:gd name="connsiteY7" fmla="*/ 1212980 h 3769567"/>
                  <a:gd name="connsiteX8" fmla="*/ 4348065 w 14481110"/>
                  <a:gd name="connsiteY8" fmla="*/ 1660849 h 3769567"/>
                  <a:gd name="connsiteX9" fmla="*/ 3750906 w 14481110"/>
                  <a:gd name="connsiteY9" fmla="*/ 3321698 h 3769567"/>
                  <a:gd name="connsiteX10" fmla="*/ 5710334 w 14481110"/>
                  <a:gd name="connsiteY10" fmla="*/ 2761861 h 3769567"/>
                  <a:gd name="connsiteX11" fmla="*/ 3097763 w 14481110"/>
                  <a:gd name="connsiteY11" fmla="*/ 1474237 h 3769567"/>
                  <a:gd name="connsiteX12" fmla="*/ 0 w 14481110"/>
                  <a:gd name="connsiteY12" fmla="*/ 3769567 h 3769567"/>
                  <a:gd name="connsiteX13" fmla="*/ 2575249 w 14481110"/>
                  <a:gd name="connsiteY13" fmla="*/ 2313992 h 3769567"/>
                  <a:gd name="connsiteX14" fmla="*/ 3676261 w 14481110"/>
                  <a:gd name="connsiteY14" fmla="*/ 3247053 h 376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81110" h="3769567">
                    <a:moveTo>
                      <a:pt x="14481110" y="0"/>
                    </a:moveTo>
                    <a:lnTo>
                      <a:pt x="11961844" y="895739"/>
                    </a:lnTo>
                    <a:lnTo>
                      <a:pt x="10599575" y="989045"/>
                    </a:lnTo>
                    <a:lnTo>
                      <a:pt x="9050693" y="914400"/>
                    </a:lnTo>
                    <a:lnTo>
                      <a:pt x="6699379" y="1212980"/>
                    </a:lnTo>
                    <a:lnTo>
                      <a:pt x="6736702" y="2052735"/>
                    </a:lnTo>
                    <a:lnTo>
                      <a:pt x="5710334" y="2799184"/>
                    </a:lnTo>
                    <a:lnTo>
                      <a:pt x="6736702" y="1212980"/>
                    </a:lnTo>
                    <a:lnTo>
                      <a:pt x="4348065" y="1660849"/>
                    </a:lnTo>
                    <a:lnTo>
                      <a:pt x="3750906" y="3321698"/>
                    </a:lnTo>
                    <a:lnTo>
                      <a:pt x="5710334" y="2761861"/>
                    </a:lnTo>
                    <a:lnTo>
                      <a:pt x="3097763" y="1474237"/>
                    </a:lnTo>
                    <a:lnTo>
                      <a:pt x="0" y="3769567"/>
                    </a:lnTo>
                    <a:lnTo>
                      <a:pt x="2575249" y="2313992"/>
                    </a:lnTo>
                    <a:lnTo>
                      <a:pt x="3676261" y="324705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59">
                <a:extLst>
                  <a:ext uri="{FF2B5EF4-FFF2-40B4-BE49-F238E27FC236}">
                    <a16:creationId xmlns:a16="http://schemas.microsoft.com/office/drawing/2014/main" id="{AFC69D92-9126-15CC-1CB9-2CDC47118393}"/>
                  </a:ext>
                </a:extLst>
              </p:cNvPr>
              <p:cNvSpPr/>
              <p:nvPr/>
            </p:nvSpPr>
            <p:spPr bwMode="auto">
              <a:xfrm>
                <a:off x="-186612" y="821094"/>
                <a:ext cx="20266090" cy="5169159"/>
              </a:xfrm>
              <a:custGeom>
                <a:avLst/>
                <a:gdLst>
                  <a:gd name="connsiteX0" fmla="*/ 0 w 20266090"/>
                  <a:gd name="connsiteY0" fmla="*/ 1101012 h 5169159"/>
                  <a:gd name="connsiteX1" fmla="*/ 1511559 w 20266090"/>
                  <a:gd name="connsiteY1" fmla="*/ 1642188 h 5169159"/>
                  <a:gd name="connsiteX2" fmla="*/ 3732245 w 20266090"/>
                  <a:gd name="connsiteY2" fmla="*/ 522514 h 5169159"/>
                  <a:gd name="connsiteX3" fmla="*/ 5952930 w 20266090"/>
                  <a:gd name="connsiteY3" fmla="*/ 1604865 h 5169159"/>
                  <a:gd name="connsiteX4" fmla="*/ 6643396 w 20266090"/>
                  <a:gd name="connsiteY4" fmla="*/ 2220686 h 5169159"/>
                  <a:gd name="connsiteX5" fmla="*/ 6400800 w 20266090"/>
                  <a:gd name="connsiteY5" fmla="*/ 3452326 h 5169159"/>
                  <a:gd name="connsiteX6" fmla="*/ 5001208 w 20266090"/>
                  <a:gd name="connsiteY6" fmla="*/ 3433665 h 5169159"/>
                  <a:gd name="connsiteX7" fmla="*/ 3564294 w 20266090"/>
                  <a:gd name="connsiteY7" fmla="*/ 3228392 h 5169159"/>
                  <a:gd name="connsiteX8" fmla="*/ 1007706 w 20266090"/>
                  <a:gd name="connsiteY8" fmla="*/ 3732245 h 5169159"/>
                  <a:gd name="connsiteX9" fmla="*/ 391885 w 20266090"/>
                  <a:gd name="connsiteY9" fmla="*/ 2444620 h 5169159"/>
                  <a:gd name="connsiteX10" fmla="*/ 1884783 w 20266090"/>
                  <a:gd name="connsiteY10" fmla="*/ 2593910 h 5169159"/>
                  <a:gd name="connsiteX11" fmla="*/ 2500604 w 20266090"/>
                  <a:gd name="connsiteY11" fmla="*/ 1922106 h 5169159"/>
                  <a:gd name="connsiteX12" fmla="*/ 3993502 w 20266090"/>
                  <a:gd name="connsiteY12" fmla="*/ 2425959 h 5169159"/>
                  <a:gd name="connsiteX13" fmla="*/ 6662057 w 20266090"/>
                  <a:gd name="connsiteY13" fmla="*/ 2239347 h 5169159"/>
                  <a:gd name="connsiteX14" fmla="*/ 7613779 w 20266090"/>
                  <a:gd name="connsiteY14" fmla="*/ 1530220 h 5169159"/>
                  <a:gd name="connsiteX15" fmla="*/ 6662057 w 20266090"/>
                  <a:gd name="connsiteY15" fmla="*/ 1455575 h 5169159"/>
                  <a:gd name="connsiteX16" fmla="*/ 9386596 w 20266090"/>
                  <a:gd name="connsiteY16" fmla="*/ 18661 h 5169159"/>
                  <a:gd name="connsiteX17" fmla="*/ 8714792 w 20266090"/>
                  <a:gd name="connsiteY17" fmla="*/ 1287624 h 5169159"/>
                  <a:gd name="connsiteX18" fmla="*/ 7651102 w 20266090"/>
                  <a:gd name="connsiteY18" fmla="*/ 3135086 h 5169159"/>
                  <a:gd name="connsiteX19" fmla="*/ 6680718 w 20266090"/>
                  <a:gd name="connsiteY19" fmla="*/ 2239347 h 5169159"/>
                  <a:gd name="connsiteX20" fmla="*/ 7109926 w 20266090"/>
                  <a:gd name="connsiteY20" fmla="*/ 3769567 h 5169159"/>
                  <a:gd name="connsiteX21" fmla="*/ 6680718 w 20266090"/>
                  <a:gd name="connsiteY21" fmla="*/ 5169159 h 5169159"/>
                  <a:gd name="connsiteX22" fmla="*/ 6400800 w 20266090"/>
                  <a:gd name="connsiteY22" fmla="*/ 3452326 h 5169159"/>
                  <a:gd name="connsiteX23" fmla="*/ 7091265 w 20266090"/>
                  <a:gd name="connsiteY23" fmla="*/ 3769567 h 5169159"/>
                  <a:gd name="connsiteX24" fmla="*/ 9797143 w 20266090"/>
                  <a:gd name="connsiteY24" fmla="*/ 2873828 h 5169159"/>
                  <a:gd name="connsiteX25" fmla="*/ 9274628 w 20266090"/>
                  <a:gd name="connsiteY25" fmla="*/ 3732245 h 5169159"/>
                  <a:gd name="connsiteX26" fmla="*/ 12465698 w 20266090"/>
                  <a:gd name="connsiteY26" fmla="*/ 4217437 h 5169159"/>
                  <a:gd name="connsiteX27" fmla="*/ 11122090 w 20266090"/>
                  <a:gd name="connsiteY27" fmla="*/ 3041779 h 5169159"/>
                  <a:gd name="connsiteX28" fmla="*/ 9815804 w 20266090"/>
                  <a:gd name="connsiteY28" fmla="*/ 2911151 h 5169159"/>
                  <a:gd name="connsiteX29" fmla="*/ 12092473 w 20266090"/>
                  <a:gd name="connsiteY29" fmla="*/ 2444620 h 5169159"/>
                  <a:gd name="connsiteX30" fmla="*/ 13566710 w 20266090"/>
                  <a:gd name="connsiteY30" fmla="*/ 1810139 h 5169159"/>
                  <a:gd name="connsiteX31" fmla="*/ 16272588 w 20266090"/>
                  <a:gd name="connsiteY31" fmla="*/ 895739 h 5169159"/>
                  <a:gd name="connsiteX32" fmla="*/ 18773192 w 20266090"/>
                  <a:gd name="connsiteY32" fmla="*/ 2276669 h 5169159"/>
                  <a:gd name="connsiteX33" fmla="*/ 19127755 w 20266090"/>
                  <a:gd name="connsiteY33" fmla="*/ 2967135 h 5169159"/>
                  <a:gd name="connsiteX34" fmla="*/ 19426334 w 20266090"/>
                  <a:gd name="connsiteY34" fmla="*/ 4478694 h 5169159"/>
                  <a:gd name="connsiteX35" fmla="*/ 18325322 w 20266090"/>
                  <a:gd name="connsiteY35" fmla="*/ 3228392 h 5169159"/>
                  <a:gd name="connsiteX36" fmla="*/ 19146416 w 20266090"/>
                  <a:gd name="connsiteY36" fmla="*/ 3004457 h 5169159"/>
                  <a:gd name="connsiteX37" fmla="*/ 20266090 w 20266090"/>
                  <a:gd name="connsiteY37" fmla="*/ 2369975 h 5169159"/>
                  <a:gd name="connsiteX38" fmla="*/ 18717208 w 20266090"/>
                  <a:gd name="connsiteY38" fmla="*/ 2220686 h 5169159"/>
                  <a:gd name="connsiteX39" fmla="*/ 18306661 w 20266090"/>
                  <a:gd name="connsiteY39" fmla="*/ 3172408 h 5169159"/>
                  <a:gd name="connsiteX40" fmla="*/ 17354939 w 20266090"/>
                  <a:gd name="connsiteY40" fmla="*/ 2425959 h 5169159"/>
                  <a:gd name="connsiteX41" fmla="*/ 16272588 w 20266090"/>
                  <a:gd name="connsiteY41" fmla="*/ 858416 h 5169159"/>
                  <a:gd name="connsiteX42" fmla="*/ 15787396 w 20266090"/>
                  <a:gd name="connsiteY42" fmla="*/ 2276669 h 5169159"/>
                  <a:gd name="connsiteX43" fmla="*/ 14518432 w 20266090"/>
                  <a:gd name="connsiteY43" fmla="*/ 2220686 h 5169159"/>
                  <a:gd name="connsiteX44" fmla="*/ 13604032 w 20266090"/>
                  <a:gd name="connsiteY44" fmla="*/ 1772816 h 5169159"/>
                  <a:gd name="connsiteX45" fmla="*/ 13417420 w 20266090"/>
                  <a:gd name="connsiteY45" fmla="*/ 2687216 h 5169159"/>
                  <a:gd name="connsiteX46" fmla="*/ 12185779 w 20266090"/>
                  <a:gd name="connsiteY46" fmla="*/ 2407298 h 5169159"/>
                  <a:gd name="connsiteX47" fmla="*/ 10767526 w 20266090"/>
                  <a:gd name="connsiteY47" fmla="*/ 1660849 h 5169159"/>
                  <a:gd name="connsiteX48" fmla="*/ 9778481 w 20266090"/>
                  <a:gd name="connsiteY48" fmla="*/ 2873828 h 5169159"/>
                  <a:gd name="connsiteX49" fmla="*/ 8733453 w 20266090"/>
                  <a:gd name="connsiteY49" fmla="*/ 2481943 h 5169159"/>
                  <a:gd name="connsiteX50" fmla="*/ 8733453 w 20266090"/>
                  <a:gd name="connsiteY50" fmla="*/ 1250302 h 5169159"/>
                  <a:gd name="connsiteX51" fmla="*/ 9815804 w 20266090"/>
                  <a:gd name="connsiteY51" fmla="*/ 2873828 h 5169159"/>
                  <a:gd name="connsiteX52" fmla="*/ 9367934 w 20266090"/>
                  <a:gd name="connsiteY52" fmla="*/ 0 h 5169159"/>
                  <a:gd name="connsiteX53" fmla="*/ 10804849 w 20266090"/>
                  <a:gd name="connsiteY53" fmla="*/ 1660849 h 5169159"/>
                  <a:gd name="connsiteX54" fmla="*/ 13585371 w 20266090"/>
                  <a:gd name="connsiteY54" fmla="*/ 1791477 h 5169159"/>
                  <a:gd name="connsiteX55" fmla="*/ 11532636 w 20266090"/>
                  <a:gd name="connsiteY55" fmla="*/ 1399592 h 5169159"/>
                  <a:gd name="connsiteX56" fmla="*/ 9367934 w 20266090"/>
                  <a:gd name="connsiteY56" fmla="*/ 18661 h 5169159"/>
                  <a:gd name="connsiteX57" fmla="*/ 13604032 w 20266090"/>
                  <a:gd name="connsiteY57" fmla="*/ 1810139 h 516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266090" h="5169159">
                    <a:moveTo>
                      <a:pt x="0" y="1101012"/>
                    </a:moveTo>
                    <a:lnTo>
                      <a:pt x="1511559" y="1642188"/>
                    </a:lnTo>
                    <a:lnTo>
                      <a:pt x="3732245" y="522514"/>
                    </a:lnTo>
                    <a:lnTo>
                      <a:pt x="5952930" y="1604865"/>
                    </a:lnTo>
                    <a:lnTo>
                      <a:pt x="6643396" y="2220686"/>
                    </a:lnTo>
                    <a:lnTo>
                      <a:pt x="6400800" y="3452326"/>
                    </a:lnTo>
                    <a:lnTo>
                      <a:pt x="5001208" y="3433665"/>
                    </a:lnTo>
                    <a:lnTo>
                      <a:pt x="3564294" y="3228392"/>
                    </a:lnTo>
                    <a:lnTo>
                      <a:pt x="1007706" y="3732245"/>
                    </a:lnTo>
                    <a:lnTo>
                      <a:pt x="391885" y="2444620"/>
                    </a:lnTo>
                    <a:lnTo>
                      <a:pt x="1884783" y="2593910"/>
                    </a:lnTo>
                    <a:lnTo>
                      <a:pt x="2500604" y="1922106"/>
                    </a:lnTo>
                    <a:lnTo>
                      <a:pt x="3993502" y="2425959"/>
                    </a:lnTo>
                    <a:lnTo>
                      <a:pt x="6662057" y="2239347"/>
                    </a:lnTo>
                    <a:lnTo>
                      <a:pt x="7613779" y="1530220"/>
                    </a:lnTo>
                    <a:lnTo>
                      <a:pt x="6662057" y="1455575"/>
                    </a:lnTo>
                    <a:lnTo>
                      <a:pt x="9386596" y="18661"/>
                    </a:lnTo>
                    <a:lnTo>
                      <a:pt x="8714792" y="1287624"/>
                    </a:lnTo>
                    <a:lnTo>
                      <a:pt x="7651102" y="3135086"/>
                    </a:lnTo>
                    <a:lnTo>
                      <a:pt x="6680718" y="2239347"/>
                    </a:lnTo>
                    <a:lnTo>
                      <a:pt x="7109926" y="3769567"/>
                    </a:lnTo>
                    <a:lnTo>
                      <a:pt x="6680718" y="5169159"/>
                    </a:lnTo>
                    <a:lnTo>
                      <a:pt x="6400800" y="3452326"/>
                    </a:lnTo>
                    <a:lnTo>
                      <a:pt x="7091265" y="3769567"/>
                    </a:lnTo>
                    <a:lnTo>
                      <a:pt x="9797143" y="2873828"/>
                    </a:lnTo>
                    <a:lnTo>
                      <a:pt x="9274628" y="3732245"/>
                    </a:lnTo>
                    <a:lnTo>
                      <a:pt x="12465698" y="4217437"/>
                    </a:lnTo>
                    <a:lnTo>
                      <a:pt x="11122090" y="3041779"/>
                    </a:lnTo>
                    <a:lnTo>
                      <a:pt x="9815804" y="2911151"/>
                    </a:lnTo>
                    <a:lnTo>
                      <a:pt x="12092473" y="2444620"/>
                    </a:lnTo>
                    <a:lnTo>
                      <a:pt x="13566710" y="1810139"/>
                    </a:lnTo>
                    <a:lnTo>
                      <a:pt x="16272588" y="895739"/>
                    </a:lnTo>
                    <a:lnTo>
                      <a:pt x="18773192" y="2276669"/>
                    </a:lnTo>
                    <a:lnTo>
                      <a:pt x="19127755" y="2967135"/>
                    </a:lnTo>
                    <a:lnTo>
                      <a:pt x="19426334" y="4478694"/>
                    </a:lnTo>
                    <a:lnTo>
                      <a:pt x="18325322" y="3228392"/>
                    </a:lnTo>
                    <a:lnTo>
                      <a:pt x="19146416" y="3004457"/>
                    </a:lnTo>
                    <a:lnTo>
                      <a:pt x="20266090" y="2369975"/>
                    </a:lnTo>
                    <a:lnTo>
                      <a:pt x="18717208" y="2220686"/>
                    </a:lnTo>
                    <a:lnTo>
                      <a:pt x="18306661" y="3172408"/>
                    </a:lnTo>
                    <a:lnTo>
                      <a:pt x="17354939" y="2425959"/>
                    </a:lnTo>
                    <a:lnTo>
                      <a:pt x="16272588" y="858416"/>
                    </a:lnTo>
                    <a:lnTo>
                      <a:pt x="15787396" y="2276669"/>
                    </a:lnTo>
                    <a:lnTo>
                      <a:pt x="14518432" y="2220686"/>
                    </a:lnTo>
                    <a:lnTo>
                      <a:pt x="13604032" y="1772816"/>
                    </a:lnTo>
                    <a:lnTo>
                      <a:pt x="13417420" y="2687216"/>
                    </a:lnTo>
                    <a:lnTo>
                      <a:pt x="12185779" y="2407298"/>
                    </a:lnTo>
                    <a:lnTo>
                      <a:pt x="10767526" y="1660849"/>
                    </a:lnTo>
                    <a:lnTo>
                      <a:pt x="9778481" y="2873828"/>
                    </a:lnTo>
                    <a:lnTo>
                      <a:pt x="8733453" y="2481943"/>
                    </a:lnTo>
                    <a:lnTo>
                      <a:pt x="8733453" y="1250302"/>
                    </a:lnTo>
                    <a:lnTo>
                      <a:pt x="9815804" y="2873828"/>
                    </a:lnTo>
                    <a:lnTo>
                      <a:pt x="9367934" y="0"/>
                    </a:lnTo>
                    <a:lnTo>
                      <a:pt x="10804849" y="1660849"/>
                    </a:lnTo>
                    <a:lnTo>
                      <a:pt x="13585371" y="1791477"/>
                    </a:lnTo>
                    <a:lnTo>
                      <a:pt x="11532636" y="1399592"/>
                    </a:lnTo>
                    <a:lnTo>
                      <a:pt x="9367934" y="18661"/>
                    </a:lnTo>
                    <a:lnTo>
                      <a:pt x="13604032" y="18101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60">
                <a:extLst>
                  <a:ext uri="{FF2B5EF4-FFF2-40B4-BE49-F238E27FC236}">
                    <a16:creationId xmlns:a16="http://schemas.microsoft.com/office/drawing/2014/main" id="{6C493E10-D076-0A93-6EB1-5CD2BE62EDF7}"/>
                  </a:ext>
                </a:extLst>
              </p:cNvPr>
              <p:cNvSpPr/>
              <p:nvPr/>
            </p:nvSpPr>
            <p:spPr bwMode="auto">
              <a:xfrm>
                <a:off x="13230808" y="1716833"/>
                <a:ext cx="6027576" cy="3750906"/>
              </a:xfrm>
              <a:custGeom>
                <a:avLst/>
                <a:gdLst>
                  <a:gd name="connsiteX0" fmla="*/ 6027576 w 6027576"/>
                  <a:gd name="connsiteY0" fmla="*/ 3526971 h 3750906"/>
                  <a:gd name="connsiteX1" fmla="*/ 3862874 w 6027576"/>
                  <a:gd name="connsiteY1" fmla="*/ 2463281 h 3750906"/>
                  <a:gd name="connsiteX2" fmla="*/ 2556588 w 6027576"/>
                  <a:gd name="connsiteY2" fmla="*/ 2519265 h 3750906"/>
                  <a:gd name="connsiteX3" fmla="*/ 2369976 w 6027576"/>
                  <a:gd name="connsiteY3" fmla="*/ 1380930 h 3750906"/>
                  <a:gd name="connsiteX4" fmla="*/ 3918857 w 6027576"/>
                  <a:gd name="connsiteY4" fmla="*/ 2444620 h 3750906"/>
                  <a:gd name="connsiteX5" fmla="*/ 4870580 w 6027576"/>
                  <a:gd name="connsiteY5" fmla="*/ 2388636 h 3750906"/>
                  <a:gd name="connsiteX6" fmla="*/ 2369976 w 6027576"/>
                  <a:gd name="connsiteY6" fmla="*/ 1380930 h 3750906"/>
                  <a:gd name="connsiteX7" fmla="*/ 1250302 w 6027576"/>
                  <a:gd name="connsiteY7" fmla="*/ 2799183 h 3750906"/>
                  <a:gd name="connsiteX8" fmla="*/ 2071396 w 6027576"/>
                  <a:gd name="connsiteY8" fmla="*/ 3750906 h 3750906"/>
                  <a:gd name="connsiteX9" fmla="*/ 0 w 6027576"/>
                  <a:gd name="connsiteY9" fmla="*/ 2575249 h 3750906"/>
                  <a:gd name="connsiteX10" fmla="*/ 1250302 w 6027576"/>
                  <a:gd name="connsiteY10" fmla="*/ 2836506 h 3750906"/>
                  <a:gd name="connsiteX11" fmla="*/ 74645 w 6027576"/>
                  <a:gd name="connsiteY11" fmla="*/ 1791477 h 3750906"/>
                  <a:gd name="connsiteX12" fmla="*/ 1101012 w 6027576"/>
                  <a:gd name="connsiteY12" fmla="*/ 1343608 h 3750906"/>
                  <a:gd name="connsiteX13" fmla="*/ 2892490 w 6027576"/>
                  <a:gd name="connsiteY13" fmla="*/ 0 h 375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7576" h="3750906">
                    <a:moveTo>
                      <a:pt x="6027576" y="3526971"/>
                    </a:moveTo>
                    <a:lnTo>
                      <a:pt x="3862874" y="2463281"/>
                    </a:lnTo>
                    <a:lnTo>
                      <a:pt x="2556588" y="2519265"/>
                    </a:lnTo>
                    <a:lnTo>
                      <a:pt x="2369976" y="1380930"/>
                    </a:lnTo>
                    <a:lnTo>
                      <a:pt x="3918857" y="2444620"/>
                    </a:lnTo>
                    <a:lnTo>
                      <a:pt x="4870580" y="2388636"/>
                    </a:lnTo>
                    <a:lnTo>
                      <a:pt x="2369976" y="1380930"/>
                    </a:lnTo>
                    <a:lnTo>
                      <a:pt x="1250302" y="2799183"/>
                    </a:lnTo>
                    <a:lnTo>
                      <a:pt x="2071396" y="3750906"/>
                    </a:lnTo>
                    <a:lnTo>
                      <a:pt x="0" y="2575249"/>
                    </a:lnTo>
                    <a:lnTo>
                      <a:pt x="1250302" y="2836506"/>
                    </a:lnTo>
                    <a:lnTo>
                      <a:pt x="74645" y="1791477"/>
                    </a:lnTo>
                    <a:lnTo>
                      <a:pt x="1101012" y="1343608"/>
                    </a:lnTo>
                    <a:lnTo>
                      <a:pt x="2892490" y="0"/>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grpSp>
        <p:sp>
          <p:nvSpPr>
            <p:cNvPr id="4" name="Freeform 3">
              <a:extLst>
                <a:ext uri="{FF2B5EF4-FFF2-40B4-BE49-F238E27FC236}">
                  <a16:creationId xmlns:a16="http://schemas.microsoft.com/office/drawing/2014/main" id="{A9B763E5-3DD7-EDB2-E6C3-CCD7C9878E94}"/>
                </a:ext>
                <a:ext uri="{C183D7F6-B498-43B3-948B-1728B52AA6E4}">
                  <adec:decorative xmlns:adec="http://schemas.microsoft.com/office/drawing/2017/decorative" val="1"/>
                </a:ext>
              </a:extLst>
            </p:cNvPr>
            <p:cNvSpPr/>
            <p:nvPr/>
          </p:nvSpPr>
          <p:spPr>
            <a:xfrm>
              <a:off x="21211468" y="5747043"/>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29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5" name="Freeform 4">
              <a:extLst>
                <a:ext uri="{FF2B5EF4-FFF2-40B4-BE49-F238E27FC236}">
                  <a16:creationId xmlns:a16="http://schemas.microsoft.com/office/drawing/2014/main" id="{51EF2061-2DAE-93CA-4B6C-3C19E8C95400}"/>
                </a:ext>
                <a:ext uri="{C183D7F6-B498-43B3-948B-1728B52AA6E4}">
                  <adec:decorative xmlns:adec="http://schemas.microsoft.com/office/drawing/2017/decorative" val="1"/>
                </a:ext>
              </a:extLst>
            </p:cNvPr>
            <p:cNvSpPr/>
            <p:nvPr/>
          </p:nvSpPr>
          <p:spPr>
            <a:xfrm>
              <a:off x="15638896" y="4771688"/>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4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6" name="Freeform 5">
              <a:extLst>
                <a:ext uri="{FF2B5EF4-FFF2-40B4-BE49-F238E27FC236}">
                  <a16:creationId xmlns:a16="http://schemas.microsoft.com/office/drawing/2014/main" id="{A58D2987-DB9F-EA5E-AA0E-FFF669B71064}"/>
                </a:ext>
                <a:ext uri="{C183D7F6-B498-43B3-948B-1728B52AA6E4}">
                  <adec:decorative xmlns:adec="http://schemas.microsoft.com/office/drawing/2017/decorative" val="1"/>
                </a:ext>
              </a:extLst>
            </p:cNvPr>
            <p:cNvSpPr/>
            <p:nvPr/>
          </p:nvSpPr>
          <p:spPr>
            <a:xfrm>
              <a:off x="5143404" y="7375172"/>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7" name="Freeform 6">
              <a:extLst>
                <a:ext uri="{FF2B5EF4-FFF2-40B4-BE49-F238E27FC236}">
                  <a16:creationId xmlns:a16="http://schemas.microsoft.com/office/drawing/2014/main" id="{C07FE08A-723D-8679-A4B2-EB5319ADB587}"/>
                </a:ext>
                <a:ext uri="{C183D7F6-B498-43B3-948B-1728B52AA6E4}">
                  <adec:decorative xmlns:adec="http://schemas.microsoft.com/office/drawing/2017/decorative" val="1"/>
                </a:ext>
              </a:extLst>
            </p:cNvPr>
            <p:cNvSpPr/>
            <p:nvPr/>
          </p:nvSpPr>
          <p:spPr>
            <a:xfrm>
              <a:off x="2644106" y="6322837"/>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 name="Freeform 7">
              <a:extLst>
                <a:ext uri="{FF2B5EF4-FFF2-40B4-BE49-F238E27FC236}">
                  <a16:creationId xmlns:a16="http://schemas.microsoft.com/office/drawing/2014/main" id="{555DB138-FAE2-32F4-3D11-EDCE68BFAABA}"/>
                </a:ext>
                <a:ext uri="{C183D7F6-B498-43B3-948B-1728B52AA6E4}">
                  <adec:decorative xmlns:adec="http://schemas.microsoft.com/office/drawing/2017/decorative" val="1"/>
                </a:ext>
              </a:extLst>
            </p:cNvPr>
            <p:cNvSpPr/>
            <p:nvPr/>
          </p:nvSpPr>
          <p:spPr>
            <a:xfrm>
              <a:off x="9890147" y="426784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 name="Freeform 8">
              <a:extLst>
                <a:ext uri="{FF2B5EF4-FFF2-40B4-BE49-F238E27FC236}">
                  <a16:creationId xmlns:a16="http://schemas.microsoft.com/office/drawing/2014/main" id="{3D6D80AC-ACFE-C1FB-F118-8D81DFB0B750}"/>
                </a:ext>
                <a:ext uri="{C183D7F6-B498-43B3-948B-1728B52AA6E4}">
                  <adec:decorative xmlns:adec="http://schemas.microsoft.com/office/drawing/2017/decorative" val="1"/>
                </a:ext>
              </a:extLst>
            </p:cNvPr>
            <p:cNvSpPr/>
            <p:nvPr/>
          </p:nvSpPr>
          <p:spPr>
            <a:xfrm>
              <a:off x="10404070" y="8555151"/>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4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 name="Freeform 9">
              <a:extLst>
                <a:ext uri="{FF2B5EF4-FFF2-40B4-BE49-F238E27FC236}">
                  <a16:creationId xmlns:a16="http://schemas.microsoft.com/office/drawing/2014/main" id="{B0478D9E-DDDA-E799-21B6-65FB110310F3}"/>
                </a:ext>
                <a:ext uri="{C183D7F6-B498-43B3-948B-1728B52AA6E4}">
                  <adec:decorative xmlns:adec="http://schemas.microsoft.com/office/drawing/2017/decorative" val="1"/>
                </a:ext>
              </a:extLst>
            </p:cNvPr>
            <p:cNvSpPr/>
            <p:nvPr/>
          </p:nvSpPr>
          <p:spPr>
            <a:xfrm>
              <a:off x="28633714" y="9918487"/>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 name="Freeform 10">
              <a:extLst>
                <a:ext uri="{FF2B5EF4-FFF2-40B4-BE49-F238E27FC236}">
                  <a16:creationId xmlns:a16="http://schemas.microsoft.com/office/drawing/2014/main" id="{E61C2374-C90A-AC5C-16BF-C12CD10AF0E9}"/>
                </a:ext>
                <a:ext uri="{C183D7F6-B498-43B3-948B-1728B52AA6E4}">
                  <adec:decorative xmlns:adec="http://schemas.microsoft.com/office/drawing/2017/decorative" val="1"/>
                </a:ext>
              </a:extLst>
            </p:cNvPr>
            <p:cNvSpPr/>
            <p:nvPr/>
          </p:nvSpPr>
          <p:spPr>
            <a:xfrm>
              <a:off x="16266330" y="7263582"/>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 name="Freeform 11">
              <a:extLst>
                <a:ext uri="{FF2B5EF4-FFF2-40B4-BE49-F238E27FC236}">
                  <a16:creationId xmlns:a16="http://schemas.microsoft.com/office/drawing/2014/main" id="{B921F276-5E1A-AD33-C628-D885FE6921BC}"/>
                </a:ext>
                <a:ext uri="{C183D7F6-B498-43B3-948B-1728B52AA6E4}">
                  <adec:decorative xmlns:adec="http://schemas.microsoft.com/office/drawing/2017/decorative" val="1"/>
                </a:ext>
              </a:extLst>
            </p:cNvPr>
            <p:cNvSpPr/>
            <p:nvPr/>
          </p:nvSpPr>
          <p:spPr>
            <a:xfrm>
              <a:off x="8034994" y="5844939"/>
              <a:ext cx="845294" cy="84505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3" name="Freeform 12">
              <a:extLst>
                <a:ext uri="{FF2B5EF4-FFF2-40B4-BE49-F238E27FC236}">
                  <a16:creationId xmlns:a16="http://schemas.microsoft.com/office/drawing/2014/main" id="{2F8DD7AD-BF25-543F-05EB-091EB8CC0F07}"/>
                </a:ext>
                <a:ext uri="{C183D7F6-B498-43B3-948B-1728B52AA6E4}">
                  <adec:decorative xmlns:adec="http://schemas.microsoft.com/office/drawing/2017/decorative" val="1"/>
                </a:ext>
              </a:extLst>
            </p:cNvPr>
            <p:cNvSpPr/>
            <p:nvPr/>
          </p:nvSpPr>
          <p:spPr>
            <a:xfrm>
              <a:off x="5666519" y="4136075"/>
              <a:ext cx="420496" cy="42037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4" name="Freeform 13">
              <a:extLst>
                <a:ext uri="{FF2B5EF4-FFF2-40B4-BE49-F238E27FC236}">
                  <a16:creationId xmlns:a16="http://schemas.microsoft.com/office/drawing/2014/main" id="{A7D92C0A-D99E-3BF6-C285-387F29860FA2}"/>
                </a:ext>
                <a:ext uri="{C183D7F6-B498-43B3-948B-1728B52AA6E4}">
                  <adec:decorative xmlns:adec="http://schemas.microsoft.com/office/drawing/2017/decorative" val="1"/>
                </a:ext>
              </a:extLst>
            </p:cNvPr>
            <p:cNvSpPr/>
            <p:nvPr/>
          </p:nvSpPr>
          <p:spPr>
            <a:xfrm>
              <a:off x="5843436" y="6115482"/>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5" name="Freeform 14">
              <a:extLst>
                <a:ext uri="{FF2B5EF4-FFF2-40B4-BE49-F238E27FC236}">
                  <a16:creationId xmlns:a16="http://schemas.microsoft.com/office/drawing/2014/main" id="{708EB55B-6479-D52A-5CCC-08FE63D370C6}"/>
                </a:ext>
                <a:ext uri="{C183D7F6-B498-43B3-948B-1728B52AA6E4}">
                  <adec:decorative xmlns:adec="http://schemas.microsoft.com/office/drawing/2017/decorative" val="1"/>
                </a:ext>
              </a:extLst>
            </p:cNvPr>
            <p:cNvSpPr/>
            <p:nvPr/>
          </p:nvSpPr>
          <p:spPr>
            <a:xfrm>
              <a:off x="539316" y="623629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6" name="Freeform 15">
              <a:extLst>
                <a:ext uri="{FF2B5EF4-FFF2-40B4-BE49-F238E27FC236}">
                  <a16:creationId xmlns:a16="http://schemas.microsoft.com/office/drawing/2014/main" id="{337AA5DE-ECF7-833E-0F59-26C49A8D6E9E}"/>
                </a:ext>
                <a:ext uri="{C183D7F6-B498-43B3-948B-1728B52AA6E4}">
                  <adec:decorative xmlns:adec="http://schemas.microsoft.com/office/drawing/2017/decorative" val="1"/>
                </a:ext>
              </a:extLst>
            </p:cNvPr>
            <p:cNvSpPr/>
            <p:nvPr/>
          </p:nvSpPr>
          <p:spPr>
            <a:xfrm>
              <a:off x="8800065" y="4672474"/>
              <a:ext cx="530600" cy="53045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7" name="Freeform 16">
              <a:extLst>
                <a:ext uri="{FF2B5EF4-FFF2-40B4-BE49-F238E27FC236}">
                  <a16:creationId xmlns:a16="http://schemas.microsoft.com/office/drawing/2014/main" id="{568BBD99-021B-765C-BA7F-A65076B22258}"/>
                </a:ext>
                <a:ext uri="{C183D7F6-B498-43B3-948B-1728B52AA6E4}">
                  <adec:decorative xmlns:adec="http://schemas.microsoft.com/office/drawing/2017/decorative" val="1"/>
                </a:ext>
              </a:extLst>
            </p:cNvPr>
            <p:cNvSpPr/>
            <p:nvPr/>
          </p:nvSpPr>
          <p:spPr>
            <a:xfrm>
              <a:off x="16872249" y="4301168"/>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8" name="Freeform 17">
              <a:extLst>
                <a:ext uri="{FF2B5EF4-FFF2-40B4-BE49-F238E27FC236}">
                  <a16:creationId xmlns:a16="http://schemas.microsoft.com/office/drawing/2014/main" id="{98EA4CA0-424E-A45D-3AB9-FF9740CA6D1D}"/>
                </a:ext>
                <a:ext uri="{C183D7F6-B498-43B3-948B-1728B52AA6E4}">
                  <adec:decorative xmlns:adec="http://schemas.microsoft.com/office/drawing/2017/decorative" val="1"/>
                </a:ext>
              </a:extLst>
            </p:cNvPr>
            <p:cNvSpPr/>
            <p:nvPr/>
          </p:nvSpPr>
          <p:spPr>
            <a:xfrm>
              <a:off x="9842200" y="5863314"/>
              <a:ext cx="533560" cy="53341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6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9" name="Freeform 18">
              <a:extLst>
                <a:ext uri="{FF2B5EF4-FFF2-40B4-BE49-F238E27FC236}">
                  <a16:creationId xmlns:a16="http://schemas.microsoft.com/office/drawing/2014/main" id="{57BE572E-3BD3-F40D-4383-2F3D53B11645}"/>
                </a:ext>
                <a:ext uri="{C183D7F6-B498-43B3-948B-1728B52AA6E4}">
                  <adec:decorative xmlns:adec="http://schemas.microsoft.com/office/drawing/2017/decorative" val="1"/>
                </a:ext>
              </a:extLst>
            </p:cNvPr>
            <p:cNvSpPr/>
            <p:nvPr/>
          </p:nvSpPr>
          <p:spPr>
            <a:xfrm>
              <a:off x="23221690" y="7733143"/>
              <a:ext cx="1091546" cy="109123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5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0" name="Freeform 19">
              <a:extLst>
                <a:ext uri="{FF2B5EF4-FFF2-40B4-BE49-F238E27FC236}">
                  <a16:creationId xmlns:a16="http://schemas.microsoft.com/office/drawing/2014/main" id="{F672C4DC-4270-951F-A280-EDD882AEABFE}"/>
                </a:ext>
                <a:ext uri="{C183D7F6-B498-43B3-948B-1728B52AA6E4}">
                  <adec:decorative xmlns:adec="http://schemas.microsoft.com/office/drawing/2017/decorative" val="1"/>
                </a:ext>
              </a:extLst>
            </p:cNvPr>
            <p:cNvSpPr/>
            <p:nvPr/>
          </p:nvSpPr>
          <p:spPr>
            <a:xfrm>
              <a:off x="22702262" y="10213902"/>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5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1" name="Freeform 20">
              <a:extLst>
                <a:ext uri="{FF2B5EF4-FFF2-40B4-BE49-F238E27FC236}">
                  <a16:creationId xmlns:a16="http://schemas.microsoft.com/office/drawing/2014/main" id="{5B288DC7-D267-5073-87A1-0156254134EC}"/>
                </a:ext>
                <a:ext uri="{C183D7F6-B498-43B3-948B-1728B52AA6E4}">
                  <adec:decorative xmlns:adec="http://schemas.microsoft.com/office/drawing/2017/decorative" val="1"/>
                </a:ext>
              </a:extLst>
            </p:cNvPr>
            <p:cNvSpPr/>
            <p:nvPr/>
          </p:nvSpPr>
          <p:spPr>
            <a:xfrm>
              <a:off x="17908581" y="6037754"/>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2" name="Freeform 21">
              <a:extLst>
                <a:ext uri="{FF2B5EF4-FFF2-40B4-BE49-F238E27FC236}">
                  <a16:creationId xmlns:a16="http://schemas.microsoft.com/office/drawing/2014/main" id="{6ADC2B66-DB06-E317-39C7-E8911BE76F6B}"/>
                </a:ext>
                <a:ext uri="{C183D7F6-B498-43B3-948B-1728B52AA6E4}">
                  <adec:decorative xmlns:adec="http://schemas.microsoft.com/office/drawing/2017/decorative" val="1"/>
                </a:ext>
              </a:extLst>
            </p:cNvPr>
            <p:cNvSpPr/>
            <p:nvPr/>
          </p:nvSpPr>
          <p:spPr>
            <a:xfrm>
              <a:off x="19756262" y="8195840"/>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1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3" name="Freeform 22">
              <a:extLst>
                <a:ext uri="{FF2B5EF4-FFF2-40B4-BE49-F238E27FC236}">
                  <a16:creationId xmlns:a16="http://schemas.microsoft.com/office/drawing/2014/main" id="{ACF89888-D264-37B1-3E57-259137537469}"/>
                </a:ext>
                <a:ext uri="{C183D7F6-B498-43B3-948B-1728B52AA6E4}">
                  <adec:decorative xmlns:adec="http://schemas.microsoft.com/office/drawing/2017/decorative" val="1"/>
                </a:ext>
              </a:extLst>
            </p:cNvPr>
            <p:cNvSpPr/>
            <p:nvPr/>
          </p:nvSpPr>
          <p:spPr>
            <a:xfrm>
              <a:off x="26856839" y="7407448"/>
              <a:ext cx="875046" cy="8748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4" name="Freeform 23">
              <a:extLst>
                <a:ext uri="{FF2B5EF4-FFF2-40B4-BE49-F238E27FC236}">
                  <a16:creationId xmlns:a16="http://schemas.microsoft.com/office/drawing/2014/main" id="{70AFBF68-7D2D-9ABC-FD0D-B303B36FB914}"/>
                </a:ext>
                <a:ext uri="{C183D7F6-B498-43B3-948B-1728B52AA6E4}">
                  <adec:decorative xmlns:adec="http://schemas.microsoft.com/office/drawing/2017/decorative" val="1"/>
                </a:ext>
              </a:extLst>
            </p:cNvPr>
            <p:cNvSpPr/>
            <p:nvPr/>
          </p:nvSpPr>
          <p:spPr>
            <a:xfrm>
              <a:off x="6997181" y="5089773"/>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5" name="Freeform 24">
              <a:extLst>
                <a:ext uri="{FF2B5EF4-FFF2-40B4-BE49-F238E27FC236}">
                  <a16:creationId xmlns:a16="http://schemas.microsoft.com/office/drawing/2014/main" id="{5D14CC31-33D2-8DF3-9A51-1F9AA10BA790}"/>
                </a:ext>
                <a:ext uri="{C183D7F6-B498-43B3-948B-1728B52AA6E4}">
                  <adec:decorative xmlns:adec="http://schemas.microsoft.com/office/drawing/2017/decorative" val="1"/>
                </a:ext>
              </a:extLst>
            </p:cNvPr>
            <p:cNvSpPr/>
            <p:nvPr/>
          </p:nvSpPr>
          <p:spPr>
            <a:xfrm>
              <a:off x="13630470" y="1700413"/>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6" name="Freeform 25">
              <a:extLst>
                <a:ext uri="{FF2B5EF4-FFF2-40B4-BE49-F238E27FC236}">
                  <a16:creationId xmlns:a16="http://schemas.microsoft.com/office/drawing/2014/main" id="{E3E6F2C2-44B5-56CB-E276-A551655A9409}"/>
                </a:ext>
                <a:ext uri="{C183D7F6-B498-43B3-948B-1728B52AA6E4}">
                  <adec:decorative xmlns:adec="http://schemas.microsoft.com/office/drawing/2017/decorative" val="1"/>
                </a:ext>
              </a:extLst>
            </p:cNvPr>
            <p:cNvSpPr/>
            <p:nvPr/>
          </p:nvSpPr>
          <p:spPr>
            <a:xfrm>
              <a:off x="2041646" y="4539395"/>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7" name="Freeform 26">
              <a:extLst>
                <a:ext uri="{FF2B5EF4-FFF2-40B4-BE49-F238E27FC236}">
                  <a16:creationId xmlns:a16="http://schemas.microsoft.com/office/drawing/2014/main" id="{EF822565-3EE2-CC55-9CDE-4EB8F3EA6330}"/>
                </a:ext>
                <a:ext uri="{C183D7F6-B498-43B3-948B-1728B52AA6E4}">
                  <adec:decorative xmlns:adec="http://schemas.microsoft.com/office/drawing/2017/decorative" val="1"/>
                </a:ext>
              </a:extLst>
            </p:cNvPr>
            <p:cNvSpPr/>
            <p:nvPr/>
          </p:nvSpPr>
          <p:spPr>
            <a:xfrm>
              <a:off x="863716" y="499119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8" name="Freeform 27">
              <a:extLst>
                <a:ext uri="{FF2B5EF4-FFF2-40B4-BE49-F238E27FC236}">
                  <a16:creationId xmlns:a16="http://schemas.microsoft.com/office/drawing/2014/main" id="{529A1452-AE77-2DFC-BF96-B98BCE4EF29D}"/>
                </a:ext>
                <a:ext uri="{C183D7F6-B498-43B3-948B-1728B52AA6E4}">
                  <adec:decorative xmlns:adec="http://schemas.microsoft.com/office/drawing/2017/decorative" val="1"/>
                </a:ext>
              </a:extLst>
            </p:cNvPr>
            <p:cNvSpPr/>
            <p:nvPr/>
          </p:nvSpPr>
          <p:spPr>
            <a:xfrm>
              <a:off x="5176787" y="2737246"/>
              <a:ext cx="828224" cy="82799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29" name="Freeform 28">
              <a:extLst>
                <a:ext uri="{FF2B5EF4-FFF2-40B4-BE49-F238E27FC236}">
                  <a16:creationId xmlns:a16="http://schemas.microsoft.com/office/drawing/2014/main" id="{C58EA55D-3E90-C938-2C65-5C28DD9B94A1}"/>
                </a:ext>
                <a:ext uri="{C183D7F6-B498-43B3-948B-1728B52AA6E4}">
                  <adec:decorative xmlns:adec="http://schemas.microsoft.com/office/drawing/2017/decorative" val="1"/>
                </a:ext>
              </a:extLst>
            </p:cNvPr>
            <p:cNvSpPr/>
            <p:nvPr/>
          </p:nvSpPr>
          <p:spPr>
            <a:xfrm>
              <a:off x="25188368" y="5885816"/>
              <a:ext cx="1091546" cy="109123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0" name="Freeform 29">
              <a:extLst>
                <a:ext uri="{FF2B5EF4-FFF2-40B4-BE49-F238E27FC236}">
                  <a16:creationId xmlns:a16="http://schemas.microsoft.com/office/drawing/2014/main" id="{2622F2E0-E022-EE0A-3FE8-8E34D1950FE5}"/>
                </a:ext>
                <a:ext uri="{C183D7F6-B498-43B3-948B-1728B52AA6E4}">
                  <adec:decorative xmlns:adec="http://schemas.microsoft.com/office/drawing/2017/decorative" val="1"/>
                </a:ext>
              </a:extLst>
            </p:cNvPr>
            <p:cNvSpPr/>
            <p:nvPr/>
          </p:nvSpPr>
          <p:spPr>
            <a:xfrm>
              <a:off x="23108175" y="592132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5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1" name="Freeform 30">
              <a:extLst>
                <a:ext uri="{FF2B5EF4-FFF2-40B4-BE49-F238E27FC236}">
                  <a16:creationId xmlns:a16="http://schemas.microsoft.com/office/drawing/2014/main" id="{C7A96BA8-0CC3-D7F8-BCED-63DA13AEF200}"/>
                </a:ext>
                <a:ext uri="{C183D7F6-B498-43B3-948B-1728B52AA6E4}">
                  <adec:decorative xmlns:adec="http://schemas.microsoft.com/office/drawing/2017/decorative" val="1"/>
                </a:ext>
              </a:extLst>
            </p:cNvPr>
            <p:cNvSpPr/>
            <p:nvPr/>
          </p:nvSpPr>
          <p:spPr>
            <a:xfrm>
              <a:off x="23821317" y="3329737"/>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28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2" name="Freeform 31">
              <a:extLst>
                <a:ext uri="{FF2B5EF4-FFF2-40B4-BE49-F238E27FC236}">
                  <a16:creationId xmlns:a16="http://schemas.microsoft.com/office/drawing/2014/main" id="{BEE8495B-0E10-41BB-7AEC-C8616753EF62}"/>
                </a:ext>
                <a:ext uri="{C183D7F6-B498-43B3-948B-1728B52AA6E4}">
                  <adec:decorative xmlns:adec="http://schemas.microsoft.com/office/drawing/2017/decorative" val="1"/>
                </a:ext>
              </a:extLst>
            </p:cNvPr>
            <p:cNvSpPr/>
            <p:nvPr/>
          </p:nvSpPr>
          <p:spPr>
            <a:xfrm>
              <a:off x="19873891" y="4923793"/>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3" name="Freeform 32">
              <a:extLst>
                <a:ext uri="{FF2B5EF4-FFF2-40B4-BE49-F238E27FC236}">
                  <a16:creationId xmlns:a16="http://schemas.microsoft.com/office/drawing/2014/main" id="{734D208F-F12F-79E6-5DAD-52F40F3C18BB}"/>
                </a:ext>
                <a:ext uri="{C183D7F6-B498-43B3-948B-1728B52AA6E4}">
                  <adec:decorative xmlns:adec="http://schemas.microsoft.com/office/drawing/2017/decorative" val="1"/>
                </a:ext>
              </a:extLst>
            </p:cNvPr>
            <p:cNvSpPr/>
            <p:nvPr/>
          </p:nvSpPr>
          <p:spPr>
            <a:xfrm>
              <a:off x="25310539" y="7858704"/>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4" name="Freeform 33">
              <a:extLst>
                <a:ext uri="{FF2B5EF4-FFF2-40B4-BE49-F238E27FC236}">
                  <a16:creationId xmlns:a16="http://schemas.microsoft.com/office/drawing/2014/main" id="{74AB2EA9-83F0-99AC-688D-56E84851C45A}"/>
                </a:ext>
                <a:ext uri="{C183D7F6-B498-43B3-948B-1728B52AA6E4}">
                  <adec:decorative xmlns:adec="http://schemas.microsoft.com/office/drawing/2017/decorative" val="1"/>
                </a:ext>
              </a:extLst>
            </p:cNvPr>
            <p:cNvSpPr/>
            <p:nvPr/>
          </p:nvSpPr>
          <p:spPr>
            <a:xfrm>
              <a:off x="14355414" y="695185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5" name="Freeform 34">
              <a:extLst>
                <a:ext uri="{FF2B5EF4-FFF2-40B4-BE49-F238E27FC236}">
                  <a16:creationId xmlns:a16="http://schemas.microsoft.com/office/drawing/2014/main" id="{DED005AE-30D2-52BF-51E5-28CD3298189A}"/>
                </a:ext>
                <a:ext uri="{C183D7F6-B498-43B3-948B-1728B52AA6E4}">
                  <adec:decorative xmlns:adec="http://schemas.microsoft.com/office/drawing/2017/decorative" val="1"/>
                </a:ext>
              </a:extLst>
            </p:cNvPr>
            <p:cNvSpPr/>
            <p:nvPr/>
          </p:nvSpPr>
          <p:spPr>
            <a:xfrm>
              <a:off x="12737436" y="6217240"/>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73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6" name="Freeform 35">
              <a:extLst>
                <a:ext uri="{FF2B5EF4-FFF2-40B4-BE49-F238E27FC236}">
                  <a16:creationId xmlns:a16="http://schemas.microsoft.com/office/drawing/2014/main" id="{68EB6651-E4EB-644D-33CE-32CEB06AFDBE}"/>
                </a:ext>
                <a:ext uri="{C183D7F6-B498-43B3-948B-1728B52AA6E4}">
                  <adec:decorative xmlns:adec="http://schemas.microsoft.com/office/drawing/2017/decorative" val="1"/>
                </a:ext>
              </a:extLst>
            </p:cNvPr>
            <p:cNvSpPr/>
            <p:nvPr/>
          </p:nvSpPr>
          <p:spPr>
            <a:xfrm>
              <a:off x="9425522" y="804547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6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7" name="Freeform 36">
              <a:extLst>
                <a:ext uri="{FF2B5EF4-FFF2-40B4-BE49-F238E27FC236}">
                  <a16:creationId xmlns:a16="http://schemas.microsoft.com/office/drawing/2014/main" id="{1BF132DD-D5B2-4ED0-3E68-27746587BF10}"/>
                </a:ext>
                <a:ext uri="{C183D7F6-B498-43B3-948B-1728B52AA6E4}">
                  <adec:decorative xmlns:adec="http://schemas.microsoft.com/office/drawing/2017/decorative" val="1"/>
                </a:ext>
              </a:extLst>
            </p:cNvPr>
            <p:cNvSpPr/>
            <p:nvPr/>
          </p:nvSpPr>
          <p:spPr>
            <a:xfrm>
              <a:off x="1420655" y="850842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8" name="Freeform 37">
              <a:extLst>
                <a:ext uri="{FF2B5EF4-FFF2-40B4-BE49-F238E27FC236}">
                  <a16:creationId xmlns:a16="http://schemas.microsoft.com/office/drawing/2014/main" id="{23C805EF-EBA4-788B-B331-28E0AF16F846}"/>
                </a:ext>
                <a:ext uri="{C183D7F6-B498-43B3-948B-1728B52AA6E4}">
                  <adec:decorative xmlns:adec="http://schemas.microsoft.com/office/drawing/2017/decorative" val="1"/>
                </a:ext>
              </a:extLst>
            </p:cNvPr>
            <p:cNvSpPr/>
            <p:nvPr/>
          </p:nvSpPr>
          <p:spPr>
            <a:xfrm>
              <a:off x="15687323" y="890874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4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39" name="Freeform 38">
              <a:extLst>
                <a:ext uri="{FF2B5EF4-FFF2-40B4-BE49-F238E27FC236}">
                  <a16:creationId xmlns:a16="http://schemas.microsoft.com/office/drawing/2014/main" id="{25730B91-B89B-4B06-1109-62A0DBFDDE95}"/>
                </a:ext>
                <a:ext uri="{C183D7F6-B498-43B3-948B-1728B52AA6E4}">
                  <adec:decorative xmlns:adec="http://schemas.microsoft.com/office/drawing/2017/decorative" val="1"/>
                </a:ext>
              </a:extLst>
            </p:cNvPr>
            <p:cNvSpPr/>
            <p:nvPr/>
          </p:nvSpPr>
          <p:spPr>
            <a:xfrm>
              <a:off x="19652419" y="6545258"/>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1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40" name="Freeform 39">
              <a:extLst>
                <a:ext uri="{FF2B5EF4-FFF2-40B4-BE49-F238E27FC236}">
                  <a16:creationId xmlns:a16="http://schemas.microsoft.com/office/drawing/2014/main" id="{002BFCFD-C38A-50B1-FE1E-2FF45906E9D5}"/>
                </a:ext>
                <a:ext uri="{C183D7F6-B498-43B3-948B-1728B52AA6E4}">
                  <adec:decorative xmlns:adec="http://schemas.microsoft.com/office/drawing/2017/decorative" val="1"/>
                </a:ext>
              </a:extLst>
            </p:cNvPr>
            <p:cNvSpPr/>
            <p:nvPr/>
          </p:nvSpPr>
          <p:spPr>
            <a:xfrm>
              <a:off x="9784764" y="11226029"/>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73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chemeClr val="accent4">
                  <a:lumMod val="1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41" name="Freeform 40">
              <a:extLst>
                <a:ext uri="{FF2B5EF4-FFF2-40B4-BE49-F238E27FC236}">
                  <a16:creationId xmlns:a16="http://schemas.microsoft.com/office/drawing/2014/main" id="{D65B337A-F0CA-DAF9-75D5-FD59D2FD5191}"/>
                </a:ext>
                <a:ext uri="{C183D7F6-B498-43B3-948B-1728B52AA6E4}">
                  <adec:decorative xmlns:adec="http://schemas.microsoft.com/office/drawing/2017/decorative" val="1"/>
                </a:ext>
              </a:extLst>
            </p:cNvPr>
            <p:cNvSpPr/>
            <p:nvPr/>
          </p:nvSpPr>
          <p:spPr>
            <a:xfrm>
              <a:off x="18165602" y="9355599"/>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1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42" name="Freeform 41">
              <a:extLst>
                <a:ext uri="{FF2B5EF4-FFF2-40B4-BE49-F238E27FC236}">
                  <a16:creationId xmlns:a16="http://schemas.microsoft.com/office/drawing/2014/main" id="{3B8CA925-BA68-1B16-3784-AD45F15BF072}"/>
                </a:ext>
                <a:ext uri="{C183D7F6-B498-43B3-948B-1728B52AA6E4}">
                  <adec:decorative xmlns:adec="http://schemas.microsoft.com/office/drawing/2017/decorative" val="1"/>
                </a:ext>
              </a:extLst>
            </p:cNvPr>
            <p:cNvSpPr/>
            <p:nvPr/>
          </p:nvSpPr>
          <p:spPr>
            <a:xfrm>
              <a:off x="27580539" y="5914889"/>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43" name="Freeform 42">
              <a:extLst>
                <a:ext uri="{FF2B5EF4-FFF2-40B4-BE49-F238E27FC236}">
                  <a16:creationId xmlns:a16="http://schemas.microsoft.com/office/drawing/2014/main" id="{863B6B1E-0A3F-70BE-946B-17C6ECA5E313}"/>
                </a:ext>
                <a:ext uri="{C183D7F6-B498-43B3-948B-1728B52AA6E4}">
                  <adec:decorative xmlns:adec="http://schemas.microsoft.com/office/drawing/2017/decorative" val="1"/>
                </a:ext>
              </a:extLst>
            </p:cNvPr>
            <p:cNvSpPr/>
            <p:nvPr/>
          </p:nvSpPr>
          <p:spPr>
            <a:xfrm>
              <a:off x="21438471" y="849125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29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44" name="Freeform 43">
              <a:extLst>
                <a:ext uri="{FF2B5EF4-FFF2-40B4-BE49-F238E27FC236}">
                  <a16:creationId xmlns:a16="http://schemas.microsoft.com/office/drawing/2014/main" id="{8775B332-6862-1382-7E96-FDD08773216E}"/>
                </a:ext>
                <a:ext uri="{C183D7F6-B498-43B3-948B-1728B52AA6E4}">
                  <adec:decorative xmlns:adec="http://schemas.microsoft.com/office/drawing/2017/decorative" val="1"/>
                </a:ext>
              </a:extLst>
            </p:cNvPr>
            <p:cNvSpPr/>
            <p:nvPr/>
          </p:nvSpPr>
          <p:spPr>
            <a:xfrm>
              <a:off x="7095095" y="7855275"/>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45" name="Freeform 44">
              <a:extLst>
                <a:ext uri="{FF2B5EF4-FFF2-40B4-BE49-F238E27FC236}">
                  <a16:creationId xmlns:a16="http://schemas.microsoft.com/office/drawing/2014/main" id="{F405B9AC-92C7-7AE1-C2EA-61FDD4B5573D}"/>
                </a:ext>
                <a:ext uri="{C183D7F6-B498-43B3-948B-1728B52AA6E4}">
                  <adec:decorative xmlns:adec="http://schemas.microsoft.com/office/drawing/2017/decorative" val="1"/>
                </a:ext>
              </a:extLst>
            </p:cNvPr>
            <p:cNvSpPr/>
            <p:nvPr/>
          </p:nvSpPr>
          <p:spPr>
            <a:xfrm>
              <a:off x="28103626" y="7146642"/>
              <a:ext cx="737085" cy="736877"/>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46" name="Freeform 45">
              <a:extLst>
                <a:ext uri="{FF2B5EF4-FFF2-40B4-BE49-F238E27FC236}">
                  <a16:creationId xmlns:a16="http://schemas.microsoft.com/office/drawing/2014/main" id="{40C613F3-8C97-AB94-78C3-9FA239FF651D}"/>
                </a:ext>
                <a:ext uri="{C183D7F6-B498-43B3-948B-1728B52AA6E4}">
                  <adec:decorative xmlns:adec="http://schemas.microsoft.com/office/drawing/2017/decorative" val="1"/>
                </a:ext>
              </a:extLst>
            </p:cNvPr>
            <p:cNvSpPr/>
            <p:nvPr/>
          </p:nvSpPr>
          <p:spPr>
            <a:xfrm>
              <a:off x="11026621" y="457101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4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47" name="Freeform 46">
              <a:extLst>
                <a:ext uri="{FF2B5EF4-FFF2-40B4-BE49-F238E27FC236}">
                  <a16:creationId xmlns:a16="http://schemas.microsoft.com/office/drawing/2014/main" id="{90213938-FFF3-1BD4-5703-B6D60B40EC53}"/>
                </a:ext>
                <a:ext uri="{C183D7F6-B498-43B3-948B-1728B52AA6E4}">
                  <adec:decorative xmlns:adec="http://schemas.microsoft.com/office/drawing/2017/decorative" val="1"/>
                </a:ext>
              </a:extLst>
            </p:cNvPr>
            <p:cNvSpPr/>
            <p:nvPr/>
          </p:nvSpPr>
          <p:spPr>
            <a:xfrm>
              <a:off x="11115333" y="7263582"/>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4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48" name="Freeform 47">
              <a:extLst>
                <a:ext uri="{FF2B5EF4-FFF2-40B4-BE49-F238E27FC236}">
                  <a16:creationId xmlns:a16="http://schemas.microsoft.com/office/drawing/2014/main" id="{B945E956-3F3C-BE82-D40B-683986E22452}"/>
                </a:ext>
                <a:ext uri="{C183D7F6-B498-43B3-948B-1728B52AA6E4}">
                  <adec:decorative xmlns:adec="http://schemas.microsoft.com/office/drawing/2017/decorative" val="1"/>
                </a:ext>
              </a:extLst>
            </p:cNvPr>
            <p:cNvSpPr/>
            <p:nvPr/>
          </p:nvSpPr>
          <p:spPr>
            <a:xfrm>
              <a:off x="12771395" y="4090736"/>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73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49" name="Freeform 48">
              <a:extLst>
                <a:ext uri="{FF2B5EF4-FFF2-40B4-BE49-F238E27FC236}">
                  <a16:creationId xmlns:a16="http://schemas.microsoft.com/office/drawing/2014/main" id="{5C3BD80C-54BE-1417-4C60-B126A0006CF2}"/>
                </a:ext>
                <a:ext uri="{C183D7F6-B498-43B3-948B-1728B52AA6E4}">
                  <adec:decorative xmlns:adec="http://schemas.microsoft.com/office/drawing/2017/decorative" val="1"/>
                </a:ext>
              </a:extLst>
            </p:cNvPr>
            <p:cNvSpPr/>
            <p:nvPr/>
          </p:nvSpPr>
          <p:spPr>
            <a:xfrm>
              <a:off x="13588373" y="8540306"/>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50" name="Freeform 49">
              <a:extLst>
                <a:ext uri="{FF2B5EF4-FFF2-40B4-BE49-F238E27FC236}">
                  <a16:creationId xmlns:a16="http://schemas.microsoft.com/office/drawing/2014/main" id="{8FE4ADE5-2A8C-BF22-0341-F46B12B34379}"/>
                </a:ext>
                <a:ext uri="{C183D7F6-B498-43B3-948B-1728B52AA6E4}">
                  <adec:decorative xmlns:adec="http://schemas.microsoft.com/office/drawing/2017/decorative" val="1"/>
                </a:ext>
              </a:extLst>
            </p:cNvPr>
            <p:cNvSpPr/>
            <p:nvPr/>
          </p:nvSpPr>
          <p:spPr>
            <a:xfrm>
              <a:off x="15194849" y="10152388"/>
              <a:ext cx="1008828" cy="100855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4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51" name="Freeform 50">
              <a:extLst>
                <a:ext uri="{FF2B5EF4-FFF2-40B4-BE49-F238E27FC236}">
                  <a16:creationId xmlns:a16="http://schemas.microsoft.com/office/drawing/2014/main" id="{7C367D82-69DE-9107-64B2-955C4087EA76}"/>
                </a:ext>
                <a:ext uri="{C183D7F6-B498-43B3-948B-1728B52AA6E4}">
                  <adec:decorative xmlns:adec="http://schemas.microsoft.com/office/drawing/2017/decorative" val="1"/>
                </a:ext>
              </a:extLst>
            </p:cNvPr>
            <p:cNvSpPr/>
            <p:nvPr/>
          </p:nvSpPr>
          <p:spPr>
            <a:xfrm>
              <a:off x="3708257" y="5244193"/>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grpSp>
      <p:sp>
        <p:nvSpPr>
          <p:cNvPr id="62" name="!!overlay">
            <a:extLst>
              <a:ext uri="{FF2B5EF4-FFF2-40B4-BE49-F238E27FC236}">
                <a16:creationId xmlns:a16="http://schemas.microsoft.com/office/drawing/2014/main" id="{EDD03454-5A68-F2B7-8158-7219C376CB9A}"/>
              </a:ext>
            </a:extLst>
          </p:cNvPr>
          <p:cNvSpPr/>
          <p:nvPr/>
        </p:nvSpPr>
        <p:spPr bwMode="auto">
          <a:xfrm>
            <a:off x="0" y="0"/>
            <a:ext cx="12192000" cy="6858000"/>
          </a:xfrm>
          <a:prstGeom prst="rect">
            <a:avLst/>
          </a:prstGeom>
          <a:gradFill flip="none" rotWithShape="1">
            <a:gsLst>
              <a:gs pos="29000">
                <a:srgbClr val="FFFFFF">
                  <a:alpha val="90000"/>
                </a:srgbClr>
              </a:gs>
              <a:gs pos="82000">
                <a:schemeClr val="bg1">
                  <a:alpha val="90000"/>
                </a:schemeClr>
              </a:gs>
              <a:gs pos="100000">
                <a:schemeClr val="bg1">
                  <a:alpha val="25000"/>
                </a:schemeClr>
              </a:gs>
              <a:gs pos="0">
                <a:schemeClr val="bg1">
                  <a:alpha val="20755"/>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TextBox 76">
            <a:extLst>
              <a:ext uri="{FF2B5EF4-FFF2-40B4-BE49-F238E27FC236}">
                <a16:creationId xmlns:a16="http://schemas.microsoft.com/office/drawing/2014/main" id="{34529579-C692-87C7-D9B5-A6E13CD6B3BC}"/>
              </a:ext>
            </a:extLst>
          </p:cNvPr>
          <p:cNvSpPr txBox="1"/>
          <p:nvPr/>
        </p:nvSpPr>
        <p:spPr>
          <a:xfrm>
            <a:off x="2035306" y="4422384"/>
            <a:ext cx="8121387" cy="385170"/>
          </a:xfrm>
          <a:prstGeom prst="rect">
            <a:avLst/>
          </a:prstGeom>
          <a:noFill/>
        </p:spPr>
        <p:txBody>
          <a:bodyPr wrap="square" lIns="0" tIns="0" rIns="0" bIns="0">
            <a:spAutoFit/>
          </a:bodyPr>
          <a:lstStyle/>
          <a:p>
            <a:pPr marL="0" marR="0" lvl="0" indent="0" algn="ctr" defTabSz="750357" rtl="0" eaLnBrk="1" fontAlgn="auto" latinLnBrk="0" hangingPunct="1">
              <a:lnSpc>
                <a:spcPct val="100000"/>
              </a:lnSpc>
              <a:spcBef>
                <a:spcPts val="0"/>
              </a:spcBef>
              <a:spcAft>
                <a:spcPts val="0"/>
              </a:spcAft>
              <a:buClrTx/>
              <a:buSzTx/>
              <a:buFontTx/>
              <a:buNone/>
              <a:tabLst/>
              <a:defRPr/>
            </a:pPr>
            <a:r>
              <a:rPr kumimoji="0" lang="en-US" sz="2503" b="1" i="0" u="none" strike="noStrike" kern="1200" cap="none" spc="-41" normalizeH="0" baseline="0" noProof="0">
                <a:ln w="3175">
                  <a:noFill/>
                </a:ln>
                <a:solidFill>
                  <a:srgbClr val="002060"/>
                </a:solidFill>
                <a:effectLst/>
                <a:uLnTx/>
                <a:uFillTx/>
                <a:latin typeface="Segoe UI Semibold" panose="020B0702040204020203" pitchFamily="34" charset="0"/>
                <a:ea typeface="+mn-ea"/>
                <a:cs typeface="Segoe UI Semibold" panose="020B0702040204020203" pitchFamily="34" charset="0"/>
              </a:rPr>
              <a:t>The control plane for agents</a:t>
            </a:r>
            <a:endParaRPr kumimoji="0" lang="en-US" sz="2503" b="1" i="0" u="none" strike="noStrike" kern="1200" cap="none" spc="0" normalizeH="0" baseline="0" noProof="0">
              <a:ln>
                <a:noFill/>
              </a:ln>
              <a:solidFill>
                <a:srgbClr val="002060"/>
              </a:solidFill>
              <a:effectLst/>
              <a:uLnTx/>
              <a:uFillTx/>
              <a:latin typeface="Segoe UI Semibold" panose="020B0702040204020203" pitchFamily="34" charset="0"/>
              <a:ea typeface="+mn-ea"/>
              <a:cs typeface="Segoe UI Semibold" panose="020B0702040204020203" pitchFamily="34" charset="0"/>
            </a:endParaRPr>
          </a:p>
        </p:txBody>
      </p:sp>
      <p:grpSp>
        <p:nvGrpSpPr>
          <p:cNvPr id="79" name="Group 78">
            <a:extLst>
              <a:ext uri="{FF2B5EF4-FFF2-40B4-BE49-F238E27FC236}">
                <a16:creationId xmlns:a16="http://schemas.microsoft.com/office/drawing/2014/main" id="{054ED597-E025-E61E-7B95-DA229F9C034E}"/>
              </a:ext>
            </a:extLst>
          </p:cNvPr>
          <p:cNvGrpSpPr/>
          <p:nvPr/>
        </p:nvGrpSpPr>
        <p:grpSpPr>
          <a:xfrm>
            <a:off x="5382986" y="1501699"/>
            <a:ext cx="1426028" cy="418552"/>
            <a:chOff x="11839245" y="2231909"/>
            <a:chExt cx="6039516" cy="1772654"/>
          </a:xfrm>
        </p:grpSpPr>
        <p:sp>
          <p:nvSpPr>
            <p:cNvPr id="80" name="Rounded Rectangle 79">
              <a:extLst>
                <a:ext uri="{FF2B5EF4-FFF2-40B4-BE49-F238E27FC236}">
                  <a16:creationId xmlns:a16="http://schemas.microsoft.com/office/drawing/2014/main" id="{547B8FF7-0BAB-D0CE-8A92-679CF4830858}"/>
                </a:ext>
              </a:extLst>
            </p:cNvPr>
            <p:cNvSpPr/>
            <p:nvPr/>
          </p:nvSpPr>
          <p:spPr bwMode="auto">
            <a:xfrm>
              <a:off x="11839245" y="2231909"/>
              <a:ext cx="6039516" cy="1772654"/>
            </a:xfrm>
            <a:prstGeom prst="roundRect">
              <a:avLst>
                <a:gd name="adj" fmla="val 21167"/>
              </a:avLst>
            </a:prstGeom>
            <a:gradFill flip="none" rotWithShape="1">
              <a:gsLst>
                <a:gs pos="98000">
                  <a:schemeClr val="accent5"/>
                </a:gs>
                <a:gs pos="56000">
                  <a:srgbClr val="B9DAFF"/>
                </a:gs>
                <a:gs pos="0">
                  <a:schemeClr val="accent3"/>
                </a:gs>
                <a:gs pos="24000">
                  <a:schemeClr val="bg2"/>
                </a:gs>
              </a:gsLst>
              <a:path path="circle">
                <a:fillToRect r="100000" b="100000"/>
              </a:path>
              <a:tileRect l="-100000" t="-100000"/>
            </a:gradFill>
            <a:effectLst>
              <a:outerShdw blurRad="235855" sx="102000" sy="102000" algn="ctr" rotWithShape="0">
                <a:prstClr val="black">
                  <a:alpha val="22000"/>
                </a:prstClr>
              </a:outerShdw>
            </a:effectLst>
          </p:spPr>
          <p:txBody>
            <a:bodyPr wrap="square" lIns="137160" tIns="18288" rIns="137160" bIns="54864" rtlCol="0" anchor="ctr" anchorCtr="0">
              <a:sp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2000" b="0" i="0" u="none" strike="noStrike" kern="1200" cap="none" spc="-50" normalizeH="0" baseline="0" noProof="0">
                <a:ln w="3175">
                  <a:noFill/>
                </a:ln>
                <a:solidFill>
                  <a:srgbClr val="1B44B1"/>
                </a:solidFill>
                <a:effectLst/>
                <a:uLnTx/>
                <a:uFillTx/>
                <a:latin typeface="Segoe Sans Display Semibold"/>
                <a:ea typeface="+mn-ea"/>
                <a:cs typeface="Segoe Sans Display" pitchFamily="2" charset="0"/>
              </a:endParaRPr>
            </a:p>
          </p:txBody>
        </p:sp>
        <p:sp>
          <p:nvSpPr>
            <p:cNvPr id="81" name="TextBox 80">
              <a:extLst>
                <a:ext uri="{FF2B5EF4-FFF2-40B4-BE49-F238E27FC236}">
                  <a16:creationId xmlns:a16="http://schemas.microsoft.com/office/drawing/2014/main" id="{2A975643-DE67-9339-7A70-C00E8D01E0A9}"/>
                </a:ext>
              </a:extLst>
            </p:cNvPr>
            <p:cNvSpPr txBox="1"/>
            <p:nvPr/>
          </p:nvSpPr>
          <p:spPr>
            <a:xfrm>
              <a:off x="12041044" y="2525942"/>
              <a:ext cx="5635918" cy="1069411"/>
            </a:xfrm>
            <a:prstGeom prst="rect">
              <a:avLst/>
            </a:prstGeom>
            <a:noFill/>
          </p:spPr>
          <p:txBody>
            <a:bodyPr wrap="square" lIns="0" tIns="0" rIns="0" bIns="0">
              <a:spAutoFit/>
            </a:bodyPr>
            <a:lstStyle/>
            <a:p>
              <a:pPr marL="0" marR="0" lvl="0" indent="0" algn="ctr" defTabSz="750357" rtl="0" eaLnBrk="1" fontAlgn="auto" latinLnBrk="0" hangingPunct="1">
                <a:lnSpc>
                  <a:spcPct val="100000"/>
                </a:lnSpc>
                <a:spcBef>
                  <a:spcPts val="0"/>
                </a:spcBef>
                <a:spcAft>
                  <a:spcPts val="0"/>
                </a:spcAft>
                <a:buClrTx/>
                <a:buSzTx/>
                <a:buFontTx/>
                <a:buNone/>
                <a:tabLst/>
                <a:defRPr/>
              </a:pPr>
              <a:r>
                <a:rPr kumimoji="0" lang="en-US" sz="1641" b="1" i="0" u="none" strike="noStrike" kern="1200" cap="none" spc="-41" normalizeH="0" baseline="0" noProof="0">
                  <a:ln w="3175">
                    <a:noFill/>
                  </a:ln>
                  <a:solidFill>
                    <a:srgbClr val="1B44B1"/>
                  </a:solidFill>
                  <a:effectLst/>
                  <a:uLnTx/>
                  <a:uFillTx/>
                  <a:latin typeface="Segoe UI Semibold" panose="020B0702040204020203" pitchFamily="34" charset="0"/>
                  <a:ea typeface="+mn-ea"/>
                  <a:cs typeface="Segoe UI Semibold" panose="020B0702040204020203" pitchFamily="34" charset="0"/>
                </a:rPr>
                <a:t>Early access</a:t>
              </a:r>
              <a:endParaRPr kumimoji="0" lang="en-US" sz="1641" b="1" i="0" u="none" strike="noStrike" kern="1200" cap="none" spc="0" normalizeH="0" baseline="0" noProof="0">
                <a:ln>
                  <a:noFill/>
                </a:ln>
                <a:solidFill>
                  <a:srgbClr val="1B44B1"/>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82" name="Group 81">
            <a:extLst>
              <a:ext uri="{FF2B5EF4-FFF2-40B4-BE49-F238E27FC236}">
                <a16:creationId xmlns:a16="http://schemas.microsoft.com/office/drawing/2014/main" id="{7001D5D7-CC4D-A73C-5A4A-C48D299C84B0}"/>
              </a:ext>
            </a:extLst>
          </p:cNvPr>
          <p:cNvGrpSpPr/>
          <p:nvPr/>
        </p:nvGrpSpPr>
        <p:grpSpPr>
          <a:xfrm>
            <a:off x="2724298" y="2312107"/>
            <a:ext cx="6743405" cy="1905654"/>
            <a:chOff x="4096921" y="-150734"/>
            <a:chExt cx="4356363" cy="1231088"/>
          </a:xfrm>
        </p:grpSpPr>
        <p:sp>
          <p:nvSpPr>
            <p:cNvPr id="83" name="TextBox 82">
              <a:extLst>
                <a:ext uri="{FF2B5EF4-FFF2-40B4-BE49-F238E27FC236}">
                  <a16:creationId xmlns:a16="http://schemas.microsoft.com/office/drawing/2014/main" id="{FA35DF02-AE40-6046-C227-4B575B0B17FC}"/>
                </a:ext>
              </a:extLst>
            </p:cNvPr>
            <p:cNvSpPr txBox="1"/>
            <p:nvPr/>
          </p:nvSpPr>
          <p:spPr>
            <a:xfrm>
              <a:off x="4096921" y="494572"/>
              <a:ext cx="4356363" cy="585782"/>
            </a:xfrm>
            <a:prstGeom prst="rect">
              <a:avLst/>
            </a:prstGeom>
            <a:noFill/>
          </p:spPr>
          <p:txBody>
            <a:bodyPr wrap="square" lIns="75028" tIns="37514" rIns="75028" bIns="37514" rtlCol="0" anchor="t">
              <a:spAutoFit/>
            </a:bodyPr>
            <a:lstStyle/>
            <a:p>
              <a:pPr marL="0" marR="0" lvl="0" indent="0" algn="ctr" defTabSz="750357"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w="3175">
                    <a:noFill/>
                  </a:ln>
                  <a:gradFill>
                    <a:gsLst>
                      <a:gs pos="0">
                        <a:srgbClr val="FECBE6">
                          <a:lumMod val="90000"/>
                        </a:srgbClr>
                      </a:gs>
                      <a:gs pos="99000">
                        <a:srgbClr val="2764E7"/>
                      </a:gs>
                      <a:gs pos="51000">
                        <a:srgbClr val="BABAFF">
                          <a:lumMod val="90000"/>
                        </a:srgbClr>
                      </a:gs>
                    </a:gsLst>
                    <a:lin ang="13200000" scaled="0"/>
                  </a:gradFill>
                  <a:effectLst/>
                  <a:uLnTx/>
                  <a:uFillTx/>
                  <a:latin typeface="Segoe Sans Display Semibold"/>
                  <a:ea typeface="+mn-ea"/>
                  <a:cs typeface="Segoe UI Semibold" panose="020B0702040204020203" pitchFamily="34" charset="0"/>
                </a:rPr>
                <a:t>Microsoft Agent 365</a:t>
              </a:r>
            </a:p>
          </p:txBody>
        </p:sp>
        <p:pic>
          <p:nvPicPr>
            <p:cNvPr id="84" name="Graphic 83">
              <a:extLst>
                <a:ext uri="{FF2B5EF4-FFF2-40B4-BE49-F238E27FC236}">
                  <a16:creationId xmlns:a16="http://schemas.microsoft.com/office/drawing/2014/main" id="{C17B30CC-F8DA-7A35-B629-5AF2A8E639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3071" y="-150734"/>
              <a:ext cx="584063" cy="584063"/>
            </a:xfrm>
            <a:prstGeom prst="rect">
              <a:avLst/>
            </a:prstGeom>
            <a:effectLst>
              <a:outerShdw blurRad="50800" dist="38100" dir="2700000" algn="tl" rotWithShape="0">
                <a:srgbClr val="0C073D">
                  <a:alpha val="40000"/>
                </a:srgbClr>
              </a:outerShdw>
            </a:effectLst>
          </p:spPr>
        </p:pic>
      </p:grpSp>
    </p:spTree>
    <p:custDataLst>
      <p:tags r:id="rId1"/>
    </p:custDataLst>
    <p:extLst>
      <p:ext uri="{BB962C8B-B14F-4D97-AF65-F5344CB8AC3E}">
        <p14:creationId xmlns:p14="http://schemas.microsoft.com/office/powerpoint/2010/main" val="1524777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200"/>
                                        <p:tgtEl>
                                          <p:spTgt spid="79"/>
                                        </p:tgtEl>
                                      </p:cBhvr>
                                    </p:animEffect>
                                  </p:childTnLst>
                                </p:cTn>
                              </p:par>
                              <p:par>
                                <p:cTn id="11" presetID="42" presetClass="path" presetSubtype="0" decel="100000" fill="hold" nodeType="withEffect">
                                  <p:stCondLst>
                                    <p:cond delay="0"/>
                                  </p:stCondLst>
                                  <p:childTnLst>
                                    <p:animMotion origin="layout" path="M 0 0.03889 L 0 0 " pathEditMode="relative" rAng="0" ptsTypes="AA">
                                      <p:cBhvr>
                                        <p:cTn id="12" dur="500" fill="hold"/>
                                        <p:tgtEl>
                                          <p:spTgt spid="79"/>
                                        </p:tgtEl>
                                        <p:attrNameLst>
                                          <p:attrName>ppt_x</p:attrName>
                                          <p:attrName>ppt_y</p:attrName>
                                        </p:attrNameLst>
                                      </p:cBhvr>
                                      <p:rCtr x="0" y="-1944"/>
                                    </p:animMotion>
                                  </p:childTnLst>
                                </p:cTn>
                              </p:par>
                              <p:par>
                                <p:cTn id="13" presetID="10" presetClass="entr" presetSubtype="0" fill="hold" nodeType="withEffect">
                                  <p:stCondLst>
                                    <p:cond delay="100"/>
                                  </p:stCondLst>
                                  <p:childTnLst>
                                    <p:set>
                                      <p:cBhvr>
                                        <p:cTn id="14" dur="1" fill="hold">
                                          <p:stCondLst>
                                            <p:cond delay="0"/>
                                          </p:stCondLst>
                                        </p:cTn>
                                        <p:tgtEl>
                                          <p:spTgt spid="82"/>
                                        </p:tgtEl>
                                        <p:attrNameLst>
                                          <p:attrName>style.visibility</p:attrName>
                                        </p:attrNameLst>
                                      </p:cBhvr>
                                      <p:to>
                                        <p:strVal val="visible"/>
                                      </p:to>
                                    </p:set>
                                    <p:animEffect transition="in" filter="fade">
                                      <p:cBhvr>
                                        <p:cTn id="15" dur="200"/>
                                        <p:tgtEl>
                                          <p:spTgt spid="82"/>
                                        </p:tgtEl>
                                      </p:cBhvr>
                                    </p:animEffect>
                                  </p:childTnLst>
                                </p:cTn>
                              </p:par>
                              <p:par>
                                <p:cTn id="16" presetID="42" presetClass="path" presetSubtype="0" decel="100000" fill="hold" nodeType="withEffect">
                                  <p:stCondLst>
                                    <p:cond delay="100"/>
                                  </p:stCondLst>
                                  <p:childTnLst>
                                    <p:animMotion origin="layout" path="M 0 0.03889 L 0 0 " pathEditMode="relative" rAng="0" ptsTypes="AA">
                                      <p:cBhvr>
                                        <p:cTn id="17" dur="500" fill="hold"/>
                                        <p:tgtEl>
                                          <p:spTgt spid="82"/>
                                        </p:tgtEl>
                                        <p:attrNameLst>
                                          <p:attrName>ppt_x</p:attrName>
                                          <p:attrName>ppt_y</p:attrName>
                                        </p:attrNameLst>
                                      </p:cBhvr>
                                      <p:rCtr x="0" y="-1944"/>
                                    </p:animMotion>
                                  </p:childTnLst>
                                </p:cTn>
                              </p:par>
                              <p:par>
                                <p:cTn id="18" presetID="10" presetClass="entr" presetSubtype="0" fill="hold" grpId="0" nodeType="withEffect">
                                  <p:stCondLst>
                                    <p:cond delay="200"/>
                                  </p:stCondLst>
                                  <p:childTnLst>
                                    <p:set>
                                      <p:cBhvr>
                                        <p:cTn id="19" dur="1" fill="hold">
                                          <p:stCondLst>
                                            <p:cond delay="0"/>
                                          </p:stCondLst>
                                        </p:cTn>
                                        <p:tgtEl>
                                          <p:spTgt spid="77"/>
                                        </p:tgtEl>
                                        <p:attrNameLst>
                                          <p:attrName>style.visibility</p:attrName>
                                        </p:attrNameLst>
                                      </p:cBhvr>
                                      <p:to>
                                        <p:strVal val="visible"/>
                                      </p:to>
                                    </p:set>
                                    <p:animEffect transition="in" filter="fade">
                                      <p:cBhvr>
                                        <p:cTn id="20" dur="200"/>
                                        <p:tgtEl>
                                          <p:spTgt spid="77"/>
                                        </p:tgtEl>
                                      </p:cBhvr>
                                    </p:animEffect>
                                  </p:childTnLst>
                                </p:cTn>
                              </p:par>
                              <p:par>
                                <p:cTn id="21" presetID="42" presetClass="path" presetSubtype="0" decel="100000" fill="hold" grpId="1" nodeType="withEffect">
                                  <p:stCondLst>
                                    <p:cond delay="200"/>
                                  </p:stCondLst>
                                  <p:childTnLst>
                                    <p:animMotion origin="layout" path="M 0 0.03889 L 0 0 " pathEditMode="relative" rAng="0" ptsTypes="AA">
                                      <p:cBhvr>
                                        <p:cTn id="22" dur="500" fill="hold"/>
                                        <p:tgtEl>
                                          <p:spTgt spid="77"/>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77" grpId="0"/>
      <p:bldP spid="77"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EB82D-F74E-DC6C-4ADC-960E5DABB757}"/>
            </a:ext>
          </a:extLst>
        </p:cNvPr>
        <p:cNvGrpSpPr/>
        <p:nvPr/>
      </p:nvGrpSpPr>
      <p:grpSpPr>
        <a:xfrm>
          <a:off x="0" y="0"/>
          <a:ext cx="0" cy="0"/>
          <a:chOff x="0" y="0"/>
          <a:chExt cx="0" cy="0"/>
        </a:xfrm>
      </p:grpSpPr>
      <p:sp>
        <p:nvSpPr>
          <p:cNvPr id="3" name="Rounded Rectangle 7">
            <a:extLst>
              <a:ext uri="{FF2B5EF4-FFF2-40B4-BE49-F238E27FC236}">
                <a16:creationId xmlns:a16="http://schemas.microsoft.com/office/drawing/2014/main" id="{01B09022-163E-3BDE-1583-8E5A7799AE0C}"/>
              </a:ext>
            </a:extLst>
          </p:cNvPr>
          <p:cNvSpPr/>
          <p:nvPr/>
        </p:nvSpPr>
        <p:spPr>
          <a:xfrm>
            <a:off x="1481875" y="1755527"/>
            <a:ext cx="9228250" cy="2471872"/>
          </a:xfrm>
          <a:prstGeom prst="roundRect">
            <a:avLst>
              <a:gd name="adj" fmla="val 5226"/>
            </a:avLst>
          </a:prstGeom>
          <a:solidFill>
            <a:srgbClr val="000000">
              <a:alpha val="3529"/>
            </a:srgbClr>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none" lIns="0" tIns="0" rIns="0" bIns="70597" numCol="1" spcCol="0" rtlCol="0" fromWordArt="0" anchor="ctr" anchorCtr="0" forceAA="0" compatLnSpc="1">
            <a:prstTxWarp prst="textNoShape">
              <a:avLst/>
            </a:prstTxWarp>
            <a:noAutofit/>
          </a:bodyPr>
          <a:lstStyle/>
          <a:p>
            <a:pPr marL="0" marR="0" lvl="0" indent="0" algn="ctr" defTabSz="719918" rtl="0" eaLnBrk="1" fontAlgn="base" latinLnBrk="0" hangingPunct="1">
              <a:lnSpc>
                <a:spcPct val="90000"/>
              </a:lnSpc>
              <a:spcBef>
                <a:spcPct val="0"/>
              </a:spcBef>
              <a:spcAft>
                <a:spcPct val="0"/>
              </a:spcAft>
              <a:buClrTx/>
              <a:buSzTx/>
              <a:buFontTx/>
              <a:buNone/>
              <a:tabLst/>
              <a:defRPr/>
            </a:pPr>
            <a:endParaRPr kumimoji="0" lang="en-US" sz="5328" b="0" i="0" u="none" strike="noStrike" kern="0" cap="none" spc="-77" normalizeH="0" baseline="0" noProof="0">
              <a:ln>
                <a:noFill/>
              </a:ln>
              <a:gradFill>
                <a:gsLst>
                  <a:gs pos="0">
                    <a:srgbClr val="8DC8E8">
                      <a:lumMod val="88000"/>
                      <a:lumOff val="12000"/>
                    </a:srgbClr>
                  </a:gs>
                  <a:gs pos="100000">
                    <a:srgbClr val="49C5B1"/>
                  </a:gs>
                </a:gsLst>
                <a:lin ang="2700000" scaled="0"/>
              </a:gradFill>
              <a:effectLst/>
              <a:uLnTx/>
              <a:uFillTx/>
              <a:latin typeface="Segoe UI"/>
              <a:ea typeface="+mn-ea"/>
              <a:cs typeface="Segoe UI" pitchFamily="34" charset="0"/>
            </a:endParaRPr>
          </a:p>
        </p:txBody>
      </p:sp>
      <p:sp>
        <p:nvSpPr>
          <p:cNvPr id="9" name="Rounded Rectangle 7">
            <a:extLst>
              <a:ext uri="{FF2B5EF4-FFF2-40B4-BE49-F238E27FC236}">
                <a16:creationId xmlns:a16="http://schemas.microsoft.com/office/drawing/2014/main" id="{6C8D3317-0E9E-A221-6A51-3FA27B3122FC}"/>
              </a:ext>
            </a:extLst>
          </p:cNvPr>
          <p:cNvSpPr/>
          <p:nvPr/>
        </p:nvSpPr>
        <p:spPr>
          <a:xfrm>
            <a:off x="1481875" y="4356146"/>
            <a:ext cx="9228250" cy="1579643"/>
          </a:xfrm>
          <a:prstGeom prst="roundRect">
            <a:avLst>
              <a:gd name="adj" fmla="val 10507"/>
            </a:avLst>
          </a:prstGeom>
          <a:solidFill>
            <a:srgbClr val="000000">
              <a:alpha val="4000"/>
            </a:srgbClr>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none" lIns="0" tIns="0" rIns="0" bIns="70597" numCol="1" spcCol="0" rtlCol="0" fromWordArt="0" anchor="ctr" anchorCtr="0" forceAA="0" compatLnSpc="1">
            <a:prstTxWarp prst="textNoShape">
              <a:avLst/>
            </a:prstTxWarp>
            <a:noAutofit/>
          </a:bodyPr>
          <a:lstStyle/>
          <a:p>
            <a:pPr marL="0" marR="0" lvl="0" indent="0" algn="ctr" defTabSz="719918" rtl="0" eaLnBrk="1" fontAlgn="base" latinLnBrk="0" hangingPunct="1">
              <a:lnSpc>
                <a:spcPct val="90000"/>
              </a:lnSpc>
              <a:spcBef>
                <a:spcPct val="0"/>
              </a:spcBef>
              <a:spcAft>
                <a:spcPct val="0"/>
              </a:spcAft>
              <a:buClrTx/>
              <a:buSzTx/>
              <a:buFontTx/>
              <a:buNone/>
              <a:tabLst/>
              <a:defRPr/>
            </a:pPr>
            <a:endParaRPr kumimoji="0" lang="en-US" sz="5328" b="0" i="0" u="none" strike="noStrike" kern="0" cap="none" spc="-77" normalizeH="0" baseline="0" noProof="0">
              <a:ln>
                <a:noFill/>
              </a:ln>
              <a:gradFill>
                <a:gsLst>
                  <a:gs pos="0">
                    <a:srgbClr val="8DC8E8">
                      <a:lumMod val="88000"/>
                      <a:lumOff val="12000"/>
                    </a:srgbClr>
                  </a:gs>
                  <a:gs pos="100000">
                    <a:srgbClr val="49C5B1"/>
                  </a:gs>
                </a:gsLst>
                <a:lin ang="2700000" scaled="0"/>
              </a:gradFill>
              <a:effectLst/>
              <a:uLnTx/>
              <a:uFillTx/>
              <a:latin typeface="Segoe UI"/>
              <a:ea typeface="+mn-ea"/>
              <a:cs typeface="Segoe UI" pitchFamily="34" charset="0"/>
            </a:endParaRPr>
          </a:p>
        </p:txBody>
      </p:sp>
      <p:grpSp>
        <p:nvGrpSpPr>
          <p:cNvPr id="79" name="agent group depth. 2">
            <a:extLst>
              <a:ext uri="{FF2B5EF4-FFF2-40B4-BE49-F238E27FC236}">
                <a16:creationId xmlns:a16="http://schemas.microsoft.com/office/drawing/2014/main" id="{7C18CA28-A43C-A5B6-D1E4-4723EC129CB7}"/>
              </a:ext>
            </a:extLst>
          </p:cNvPr>
          <p:cNvGrpSpPr/>
          <p:nvPr/>
        </p:nvGrpSpPr>
        <p:grpSpPr>
          <a:xfrm>
            <a:off x="2764589" y="1974610"/>
            <a:ext cx="6746572" cy="2114000"/>
            <a:chOff x="-383601" y="1700413"/>
            <a:chExt cx="32285378" cy="10116446"/>
          </a:xfrm>
        </p:grpSpPr>
        <p:grpSp>
          <p:nvGrpSpPr>
            <p:cNvPr id="80" name="Group 79" descr="A graphic of the Agentic Web, with multicolored stars representing agents. A web of grey lines behind the stars connect them.">
              <a:extLst>
                <a:ext uri="{FF2B5EF4-FFF2-40B4-BE49-F238E27FC236}">
                  <a16:creationId xmlns:a16="http://schemas.microsoft.com/office/drawing/2014/main" id="{69D90B2E-91F7-0DF2-783A-43BE96997499}"/>
                </a:ext>
              </a:extLst>
            </p:cNvPr>
            <p:cNvGrpSpPr/>
            <p:nvPr/>
          </p:nvGrpSpPr>
          <p:grpSpPr>
            <a:xfrm>
              <a:off x="-383601" y="1981204"/>
              <a:ext cx="32285378" cy="9601196"/>
              <a:chOff x="-597159" y="821094"/>
              <a:chExt cx="21889616" cy="5206482"/>
            </a:xfrm>
          </p:grpSpPr>
          <p:sp>
            <p:nvSpPr>
              <p:cNvPr id="130" name="Freeform 129">
                <a:extLst>
                  <a:ext uri="{FF2B5EF4-FFF2-40B4-BE49-F238E27FC236}">
                    <a16:creationId xmlns:a16="http://schemas.microsoft.com/office/drawing/2014/main" id="{2A639BCA-76E1-BDF4-171B-F359A62534B3}"/>
                  </a:ext>
                </a:extLst>
              </p:cNvPr>
              <p:cNvSpPr/>
              <p:nvPr/>
            </p:nvSpPr>
            <p:spPr bwMode="auto">
              <a:xfrm>
                <a:off x="14481110" y="4236098"/>
                <a:ext cx="1306286" cy="1268963"/>
              </a:xfrm>
              <a:custGeom>
                <a:avLst/>
                <a:gdLst>
                  <a:gd name="connsiteX0" fmla="*/ 0 w 1306286"/>
                  <a:gd name="connsiteY0" fmla="*/ 298580 h 1268963"/>
                  <a:gd name="connsiteX1" fmla="*/ 1306286 w 1306286"/>
                  <a:gd name="connsiteY1" fmla="*/ 0 h 1268963"/>
                  <a:gd name="connsiteX2" fmla="*/ 765110 w 1306286"/>
                  <a:gd name="connsiteY2" fmla="*/ 1268963 h 1268963"/>
                </a:gdLst>
                <a:ahLst/>
                <a:cxnLst>
                  <a:cxn ang="0">
                    <a:pos x="connsiteX0" y="connsiteY0"/>
                  </a:cxn>
                  <a:cxn ang="0">
                    <a:pos x="connsiteX1" y="connsiteY1"/>
                  </a:cxn>
                  <a:cxn ang="0">
                    <a:pos x="connsiteX2" y="connsiteY2"/>
                  </a:cxn>
                </a:cxnLst>
                <a:rect l="l" t="t" r="r" b="b"/>
                <a:pathLst>
                  <a:path w="1306286" h="1268963">
                    <a:moveTo>
                      <a:pt x="0" y="298580"/>
                    </a:moveTo>
                    <a:lnTo>
                      <a:pt x="1306286" y="0"/>
                    </a:lnTo>
                    <a:lnTo>
                      <a:pt x="765110" y="126896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1" name="Freeform 130">
                <a:extLst>
                  <a:ext uri="{FF2B5EF4-FFF2-40B4-BE49-F238E27FC236}">
                    <a16:creationId xmlns:a16="http://schemas.microsoft.com/office/drawing/2014/main" id="{E8634AC4-E249-62CC-7C33-28B8290B638E}"/>
                  </a:ext>
                </a:extLst>
              </p:cNvPr>
              <p:cNvSpPr/>
              <p:nvPr/>
            </p:nvSpPr>
            <p:spPr bwMode="auto">
              <a:xfrm>
                <a:off x="-597159" y="2388637"/>
                <a:ext cx="1455575" cy="2593910"/>
              </a:xfrm>
              <a:custGeom>
                <a:avLst/>
                <a:gdLst>
                  <a:gd name="connsiteX0" fmla="*/ 167951 w 1455575"/>
                  <a:gd name="connsiteY0" fmla="*/ 0 h 2593910"/>
                  <a:gd name="connsiteX1" fmla="*/ 1063690 w 1455575"/>
                  <a:gd name="connsiteY1" fmla="*/ 167951 h 2593910"/>
                  <a:gd name="connsiteX2" fmla="*/ 783771 w 1455575"/>
                  <a:gd name="connsiteY2" fmla="*/ 895739 h 2593910"/>
                  <a:gd name="connsiteX3" fmla="*/ 0 w 1455575"/>
                  <a:gd name="connsiteY3" fmla="*/ 1063690 h 2593910"/>
                  <a:gd name="connsiteX4" fmla="*/ 298579 w 1455575"/>
                  <a:gd name="connsiteY4" fmla="*/ 2593910 h 2593910"/>
                  <a:gd name="connsiteX5" fmla="*/ 1455575 w 1455575"/>
                  <a:gd name="connsiteY5" fmla="*/ 2146041 h 2593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575" h="2593910">
                    <a:moveTo>
                      <a:pt x="167951" y="0"/>
                    </a:moveTo>
                    <a:lnTo>
                      <a:pt x="1063690" y="167951"/>
                    </a:lnTo>
                    <a:lnTo>
                      <a:pt x="783771" y="895739"/>
                    </a:lnTo>
                    <a:lnTo>
                      <a:pt x="0" y="1063690"/>
                    </a:lnTo>
                    <a:lnTo>
                      <a:pt x="298579" y="2593910"/>
                    </a:lnTo>
                    <a:lnTo>
                      <a:pt x="1455575" y="2146041"/>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2" name="Freeform 131">
                <a:extLst>
                  <a:ext uri="{FF2B5EF4-FFF2-40B4-BE49-F238E27FC236}">
                    <a16:creationId xmlns:a16="http://schemas.microsoft.com/office/drawing/2014/main" id="{5651DD76-EA4B-B420-CD6F-C36A6B5AD4F2}"/>
                  </a:ext>
                </a:extLst>
              </p:cNvPr>
              <p:cNvSpPr/>
              <p:nvPr/>
            </p:nvSpPr>
            <p:spPr bwMode="auto">
              <a:xfrm>
                <a:off x="19239722" y="3097763"/>
                <a:ext cx="2052735" cy="2463282"/>
              </a:xfrm>
              <a:custGeom>
                <a:avLst/>
                <a:gdLst>
                  <a:gd name="connsiteX0" fmla="*/ 2052735 w 2052735"/>
                  <a:gd name="connsiteY0" fmla="*/ 0 h 2463282"/>
                  <a:gd name="connsiteX1" fmla="*/ 877078 w 2052735"/>
                  <a:gd name="connsiteY1" fmla="*/ 93306 h 2463282"/>
                  <a:gd name="connsiteX2" fmla="*/ 0 w 2052735"/>
                  <a:gd name="connsiteY2" fmla="*/ 2220686 h 2463282"/>
                  <a:gd name="connsiteX3" fmla="*/ 1754156 w 2052735"/>
                  <a:gd name="connsiteY3" fmla="*/ 2463282 h 2463282"/>
                </a:gdLst>
                <a:ahLst/>
                <a:cxnLst>
                  <a:cxn ang="0">
                    <a:pos x="connsiteX0" y="connsiteY0"/>
                  </a:cxn>
                  <a:cxn ang="0">
                    <a:pos x="connsiteX1" y="connsiteY1"/>
                  </a:cxn>
                  <a:cxn ang="0">
                    <a:pos x="connsiteX2" y="connsiteY2"/>
                  </a:cxn>
                  <a:cxn ang="0">
                    <a:pos x="connsiteX3" y="connsiteY3"/>
                  </a:cxn>
                </a:cxnLst>
                <a:rect l="l" t="t" r="r" b="b"/>
                <a:pathLst>
                  <a:path w="2052735" h="2463282">
                    <a:moveTo>
                      <a:pt x="2052735" y="0"/>
                    </a:moveTo>
                    <a:lnTo>
                      <a:pt x="877078" y="93306"/>
                    </a:lnTo>
                    <a:lnTo>
                      <a:pt x="0" y="2220686"/>
                    </a:lnTo>
                    <a:lnTo>
                      <a:pt x="1754156" y="246328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3" name="Freeform 132">
                <a:extLst>
                  <a:ext uri="{FF2B5EF4-FFF2-40B4-BE49-F238E27FC236}">
                    <a16:creationId xmlns:a16="http://schemas.microsoft.com/office/drawing/2014/main" id="{8FD1406B-4053-79CC-BA22-F3487F0E6812}"/>
                  </a:ext>
                </a:extLst>
              </p:cNvPr>
              <p:cNvSpPr/>
              <p:nvPr/>
            </p:nvSpPr>
            <p:spPr bwMode="auto">
              <a:xfrm>
                <a:off x="6438122" y="839755"/>
                <a:ext cx="2817845" cy="3694923"/>
              </a:xfrm>
              <a:custGeom>
                <a:avLst/>
                <a:gdLst>
                  <a:gd name="connsiteX0" fmla="*/ 2817845 w 2817845"/>
                  <a:gd name="connsiteY0" fmla="*/ 0 h 3694923"/>
                  <a:gd name="connsiteX1" fmla="*/ 877078 w 2817845"/>
                  <a:gd name="connsiteY1" fmla="*/ 1530221 h 3694923"/>
                  <a:gd name="connsiteX2" fmla="*/ 2108719 w 2817845"/>
                  <a:gd name="connsiteY2" fmla="*/ 1250302 h 3694923"/>
                  <a:gd name="connsiteX3" fmla="*/ 0 w 2817845"/>
                  <a:gd name="connsiteY3" fmla="*/ 2202025 h 3694923"/>
                  <a:gd name="connsiteX4" fmla="*/ 2164702 w 2817845"/>
                  <a:gd name="connsiteY4" fmla="*/ 2481943 h 3694923"/>
                  <a:gd name="connsiteX5" fmla="*/ 1026368 w 2817845"/>
                  <a:gd name="connsiteY5" fmla="*/ 3116425 h 3694923"/>
                  <a:gd name="connsiteX6" fmla="*/ 503854 w 2817845"/>
                  <a:gd name="connsiteY6" fmla="*/ 3694923 h 369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7845" h="3694923">
                    <a:moveTo>
                      <a:pt x="2817845" y="0"/>
                    </a:moveTo>
                    <a:lnTo>
                      <a:pt x="877078" y="1530221"/>
                    </a:lnTo>
                    <a:lnTo>
                      <a:pt x="2108719" y="1250302"/>
                    </a:lnTo>
                    <a:lnTo>
                      <a:pt x="0" y="2202025"/>
                    </a:lnTo>
                    <a:lnTo>
                      <a:pt x="2164702" y="2481943"/>
                    </a:lnTo>
                    <a:lnTo>
                      <a:pt x="1026368" y="3116425"/>
                    </a:lnTo>
                    <a:lnTo>
                      <a:pt x="503854" y="369492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4" name="Freeform 133">
                <a:extLst>
                  <a:ext uri="{FF2B5EF4-FFF2-40B4-BE49-F238E27FC236}">
                    <a16:creationId xmlns:a16="http://schemas.microsoft.com/office/drawing/2014/main" id="{C8B061B1-925A-5C03-F2D6-863AD86D83B8}"/>
                  </a:ext>
                </a:extLst>
              </p:cNvPr>
              <p:cNvSpPr/>
              <p:nvPr/>
            </p:nvSpPr>
            <p:spPr bwMode="auto">
              <a:xfrm>
                <a:off x="3377682" y="2388637"/>
                <a:ext cx="3060440" cy="3638939"/>
              </a:xfrm>
              <a:custGeom>
                <a:avLst/>
                <a:gdLst>
                  <a:gd name="connsiteX0" fmla="*/ 317240 w 3060440"/>
                  <a:gd name="connsiteY0" fmla="*/ 839755 h 3638939"/>
                  <a:gd name="connsiteX1" fmla="*/ 1194318 w 3060440"/>
                  <a:gd name="connsiteY1" fmla="*/ 298579 h 3638939"/>
                  <a:gd name="connsiteX2" fmla="*/ 2444620 w 3060440"/>
                  <a:gd name="connsiteY2" fmla="*/ 0 h 3638939"/>
                  <a:gd name="connsiteX3" fmla="*/ 1343608 w 3060440"/>
                  <a:gd name="connsiteY3" fmla="*/ 1810139 h 3638939"/>
                  <a:gd name="connsiteX4" fmla="*/ 466530 w 3060440"/>
                  <a:gd name="connsiteY4" fmla="*/ 877077 h 3638939"/>
                  <a:gd name="connsiteX5" fmla="*/ 0 w 3060440"/>
                  <a:gd name="connsiteY5" fmla="*/ 1623526 h 3638939"/>
                  <a:gd name="connsiteX6" fmla="*/ 3060440 w 3060440"/>
                  <a:gd name="connsiteY6" fmla="*/ 3638939 h 363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440" h="3638939">
                    <a:moveTo>
                      <a:pt x="317240" y="839755"/>
                    </a:moveTo>
                    <a:lnTo>
                      <a:pt x="1194318" y="298579"/>
                    </a:lnTo>
                    <a:lnTo>
                      <a:pt x="2444620" y="0"/>
                    </a:lnTo>
                    <a:lnTo>
                      <a:pt x="1343608" y="1810139"/>
                    </a:lnTo>
                    <a:lnTo>
                      <a:pt x="466530" y="877077"/>
                    </a:lnTo>
                    <a:lnTo>
                      <a:pt x="0" y="1623526"/>
                    </a:lnTo>
                    <a:lnTo>
                      <a:pt x="3060440" y="36389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5" name="Freeform 134">
                <a:extLst>
                  <a:ext uri="{FF2B5EF4-FFF2-40B4-BE49-F238E27FC236}">
                    <a16:creationId xmlns:a16="http://schemas.microsoft.com/office/drawing/2014/main" id="{37D2EFCA-4DD0-7310-21FE-2FF772A64E94}"/>
                  </a:ext>
                </a:extLst>
              </p:cNvPr>
              <p:cNvSpPr/>
              <p:nvPr/>
            </p:nvSpPr>
            <p:spPr bwMode="auto">
              <a:xfrm>
                <a:off x="1324947" y="1399592"/>
                <a:ext cx="2313992" cy="1343608"/>
              </a:xfrm>
              <a:custGeom>
                <a:avLst/>
                <a:gdLst>
                  <a:gd name="connsiteX0" fmla="*/ 0 w 2313992"/>
                  <a:gd name="connsiteY0" fmla="*/ 1007706 h 1343608"/>
                  <a:gd name="connsiteX1" fmla="*/ 1045029 w 2313992"/>
                  <a:gd name="connsiteY1" fmla="*/ 1343608 h 1343608"/>
                  <a:gd name="connsiteX2" fmla="*/ 2108718 w 2313992"/>
                  <a:gd name="connsiteY2" fmla="*/ 0 h 1343608"/>
                  <a:gd name="connsiteX3" fmla="*/ 2108718 w 2313992"/>
                  <a:gd name="connsiteY3" fmla="*/ 0 h 1343608"/>
                  <a:gd name="connsiteX4" fmla="*/ 2313992 w 2313992"/>
                  <a:gd name="connsiteY4" fmla="*/ 653143 h 1343608"/>
                  <a:gd name="connsiteX5" fmla="*/ 1082351 w 2313992"/>
                  <a:gd name="connsiteY5" fmla="*/ 1324947 h 134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3992" h="1343608">
                    <a:moveTo>
                      <a:pt x="0" y="1007706"/>
                    </a:moveTo>
                    <a:lnTo>
                      <a:pt x="1045029" y="1343608"/>
                    </a:lnTo>
                    <a:lnTo>
                      <a:pt x="2108718" y="0"/>
                    </a:lnTo>
                    <a:lnTo>
                      <a:pt x="2108718" y="0"/>
                    </a:lnTo>
                    <a:lnTo>
                      <a:pt x="2313992" y="653143"/>
                    </a:lnTo>
                    <a:lnTo>
                      <a:pt x="1082351" y="1324947"/>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6" name="Freeform 135">
                <a:extLst>
                  <a:ext uri="{FF2B5EF4-FFF2-40B4-BE49-F238E27FC236}">
                    <a16:creationId xmlns:a16="http://schemas.microsoft.com/office/drawing/2014/main" id="{4C68EB49-C29A-58A7-47DF-5437424FAD90}"/>
                  </a:ext>
                </a:extLst>
              </p:cNvPr>
              <p:cNvSpPr/>
              <p:nvPr/>
            </p:nvSpPr>
            <p:spPr bwMode="auto">
              <a:xfrm>
                <a:off x="447869" y="2090057"/>
                <a:ext cx="6064898" cy="3881535"/>
              </a:xfrm>
              <a:custGeom>
                <a:avLst/>
                <a:gdLst>
                  <a:gd name="connsiteX0" fmla="*/ 6064898 w 6064898"/>
                  <a:gd name="connsiteY0" fmla="*/ 3881535 h 3881535"/>
                  <a:gd name="connsiteX1" fmla="*/ 4348066 w 6064898"/>
                  <a:gd name="connsiteY1" fmla="*/ 2164702 h 3881535"/>
                  <a:gd name="connsiteX2" fmla="*/ 6027576 w 6064898"/>
                  <a:gd name="connsiteY2" fmla="*/ 989045 h 3881535"/>
                  <a:gd name="connsiteX3" fmla="*/ 6027576 w 6064898"/>
                  <a:gd name="connsiteY3" fmla="*/ 186612 h 3881535"/>
                  <a:gd name="connsiteX4" fmla="*/ 5299788 w 6064898"/>
                  <a:gd name="connsiteY4" fmla="*/ 317241 h 3881535"/>
                  <a:gd name="connsiteX5" fmla="*/ 3209731 w 6064898"/>
                  <a:gd name="connsiteY5" fmla="*/ 0 h 3881535"/>
                  <a:gd name="connsiteX6" fmla="*/ 3359021 w 6064898"/>
                  <a:gd name="connsiteY6" fmla="*/ 1119674 h 3881535"/>
                  <a:gd name="connsiteX7" fmla="*/ 317241 w 6064898"/>
                  <a:gd name="connsiteY7" fmla="*/ 2463282 h 3881535"/>
                  <a:gd name="connsiteX8" fmla="*/ 1306286 w 6064898"/>
                  <a:gd name="connsiteY8" fmla="*/ 1287625 h 3881535"/>
                  <a:gd name="connsiteX9" fmla="*/ 0 w 6064898"/>
                  <a:gd name="connsiteY9" fmla="*/ 466531 h 3881535"/>
                  <a:gd name="connsiteX10" fmla="*/ 858417 w 6064898"/>
                  <a:gd name="connsiteY10" fmla="*/ 354563 h 3881535"/>
                  <a:gd name="connsiteX11" fmla="*/ 1268964 w 6064898"/>
                  <a:gd name="connsiteY11" fmla="*/ 1250302 h 388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4898" h="3881535">
                    <a:moveTo>
                      <a:pt x="6064898" y="3881535"/>
                    </a:moveTo>
                    <a:lnTo>
                      <a:pt x="4348066" y="2164702"/>
                    </a:lnTo>
                    <a:lnTo>
                      <a:pt x="6027576" y="989045"/>
                    </a:lnTo>
                    <a:lnTo>
                      <a:pt x="6027576" y="186612"/>
                    </a:lnTo>
                    <a:lnTo>
                      <a:pt x="5299788" y="317241"/>
                    </a:lnTo>
                    <a:lnTo>
                      <a:pt x="3209731" y="0"/>
                    </a:lnTo>
                    <a:lnTo>
                      <a:pt x="3359021" y="1119674"/>
                    </a:lnTo>
                    <a:lnTo>
                      <a:pt x="317241" y="2463282"/>
                    </a:lnTo>
                    <a:lnTo>
                      <a:pt x="1306286" y="1287625"/>
                    </a:lnTo>
                    <a:lnTo>
                      <a:pt x="0" y="466531"/>
                    </a:lnTo>
                    <a:lnTo>
                      <a:pt x="858417" y="354563"/>
                    </a:lnTo>
                    <a:lnTo>
                      <a:pt x="1268964" y="1250302"/>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7" name="Freeform 136">
                <a:extLst>
                  <a:ext uri="{FF2B5EF4-FFF2-40B4-BE49-F238E27FC236}">
                    <a16:creationId xmlns:a16="http://schemas.microsoft.com/office/drawing/2014/main" id="{85985972-F248-48CF-01D1-2A5D77F6DA17}"/>
                  </a:ext>
                </a:extLst>
              </p:cNvPr>
              <p:cNvSpPr/>
              <p:nvPr/>
            </p:nvSpPr>
            <p:spPr bwMode="auto">
              <a:xfrm>
                <a:off x="6531429" y="2239347"/>
                <a:ext cx="14481110" cy="3769567"/>
              </a:xfrm>
              <a:custGeom>
                <a:avLst/>
                <a:gdLst>
                  <a:gd name="connsiteX0" fmla="*/ 14481110 w 14481110"/>
                  <a:gd name="connsiteY0" fmla="*/ 0 h 3769567"/>
                  <a:gd name="connsiteX1" fmla="*/ 11961844 w 14481110"/>
                  <a:gd name="connsiteY1" fmla="*/ 895739 h 3769567"/>
                  <a:gd name="connsiteX2" fmla="*/ 10599575 w 14481110"/>
                  <a:gd name="connsiteY2" fmla="*/ 989045 h 3769567"/>
                  <a:gd name="connsiteX3" fmla="*/ 9050693 w 14481110"/>
                  <a:gd name="connsiteY3" fmla="*/ 914400 h 3769567"/>
                  <a:gd name="connsiteX4" fmla="*/ 6699379 w 14481110"/>
                  <a:gd name="connsiteY4" fmla="*/ 1212980 h 3769567"/>
                  <a:gd name="connsiteX5" fmla="*/ 6736702 w 14481110"/>
                  <a:gd name="connsiteY5" fmla="*/ 2052735 h 3769567"/>
                  <a:gd name="connsiteX6" fmla="*/ 5710334 w 14481110"/>
                  <a:gd name="connsiteY6" fmla="*/ 2799184 h 3769567"/>
                  <a:gd name="connsiteX7" fmla="*/ 6736702 w 14481110"/>
                  <a:gd name="connsiteY7" fmla="*/ 1212980 h 3769567"/>
                  <a:gd name="connsiteX8" fmla="*/ 4348065 w 14481110"/>
                  <a:gd name="connsiteY8" fmla="*/ 1660849 h 3769567"/>
                  <a:gd name="connsiteX9" fmla="*/ 3750906 w 14481110"/>
                  <a:gd name="connsiteY9" fmla="*/ 3321698 h 3769567"/>
                  <a:gd name="connsiteX10" fmla="*/ 5710334 w 14481110"/>
                  <a:gd name="connsiteY10" fmla="*/ 2761861 h 3769567"/>
                  <a:gd name="connsiteX11" fmla="*/ 3097763 w 14481110"/>
                  <a:gd name="connsiteY11" fmla="*/ 1474237 h 3769567"/>
                  <a:gd name="connsiteX12" fmla="*/ 0 w 14481110"/>
                  <a:gd name="connsiteY12" fmla="*/ 3769567 h 3769567"/>
                  <a:gd name="connsiteX13" fmla="*/ 2575249 w 14481110"/>
                  <a:gd name="connsiteY13" fmla="*/ 2313992 h 3769567"/>
                  <a:gd name="connsiteX14" fmla="*/ 3676261 w 14481110"/>
                  <a:gd name="connsiteY14" fmla="*/ 3247053 h 376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81110" h="3769567">
                    <a:moveTo>
                      <a:pt x="14481110" y="0"/>
                    </a:moveTo>
                    <a:lnTo>
                      <a:pt x="11961844" y="895739"/>
                    </a:lnTo>
                    <a:lnTo>
                      <a:pt x="10599575" y="989045"/>
                    </a:lnTo>
                    <a:lnTo>
                      <a:pt x="9050693" y="914400"/>
                    </a:lnTo>
                    <a:lnTo>
                      <a:pt x="6699379" y="1212980"/>
                    </a:lnTo>
                    <a:lnTo>
                      <a:pt x="6736702" y="2052735"/>
                    </a:lnTo>
                    <a:lnTo>
                      <a:pt x="5710334" y="2799184"/>
                    </a:lnTo>
                    <a:lnTo>
                      <a:pt x="6736702" y="1212980"/>
                    </a:lnTo>
                    <a:lnTo>
                      <a:pt x="4348065" y="1660849"/>
                    </a:lnTo>
                    <a:lnTo>
                      <a:pt x="3750906" y="3321698"/>
                    </a:lnTo>
                    <a:lnTo>
                      <a:pt x="5710334" y="2761861"/>
                    </a:lnTo>
                    <a:lnTo>
                      <a:pt x="3097763" y="1474237"/>
                    </a:lnTo>
                    <a:lnTo>
                      <a:pt x="0" y="3769567"/>
                    </a:lnTo>
                    <a:lnTo>
                      <a:pt x="2575249" y="2313992"/>
                    </a:lnTo>
                    <a:lnTo>
                      <a:pt x="3676261" y="3247053"/>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137">
                <a:extLst>
                  <a:ext uri="{FF2B5EF4-FFF2-40B4-BE49-F238E27FC236}">
                    <a16:creationId xmlns:a16="http://schemas.microsoft.com/office/drawing/2014/main" id="{39949C82-200E-5CA0-1270-5BF92845C221}"/>
                  </a:ext>
                </a:extLst>
              </p:cNvPr>
              <p:cNvSpPr/>
              <p:nvPr/>
            </p:nvSpPr>
            <p:spPr bwMode="auto">
              <a:xfrm>
                <a:off x="-186612" y="821094"/>
                <a:ext cx="20266090" cy="5169159"/>
              </a:xfrm>
              <a:custGeom>
                <a:avLst/>
                <a:gdLst>
                  <a:gd name="connsiteX0" fmla="*/ 0 w 20266090"/>
                  <a:gd name="connsiteY0" fmla="*/ 1101012 h 5169159"/>
                  <a:gd name="connsiteX1" fmla="*/ 1511559 w 20266090"/>
                  <a:gd name="connsiteY1" fmla="*/ 1642188 h 5169159"/>
                  <a:gd name="connsiteX2" fmla="*/ 3732245 w 20266090"/>
                  <a:gd name="connsiteY2" fmla="*/ 522514 h 5169159"/>
                  <a:gd name="connsiteX3" fmla="*/ 5952930 w 20266090"/>
                  <a:gd name="connsiteY3" fmla="*/ 1604865 h 5169159"/>
                  <a:gd name="connsiteX4" fmla="*/ 6643396 w 20266090"/>
                  <a:gd name="connsiteY4" fmla="*/ 2220686 h 5169159"/>
                  <a:gd name="connsiteX5" fmla="*/ 6400800 w 20266090"/>
                  <a:gd name="connsiteY5" fmla="*/ 3452326 h 5169159"/>
                  <a:gd name="connsiteX6" fmla="*/ 5001208 w 20266090"/>
                  <a:gd name="connsiteY6" fmla="*/ 3433665 h 5169159"/>
                  <a:gd name="connsiteX7" fmla="*/ 3564294 w 20266090"/>
                  <a:gd name="connsiteY7" fmla="*/ 3228392 h 5169159"/>
                  <a:gd name="connsiteX8" fmla="*/ 1007706 w 20266090"/>
                  <a:gd name="connsiteY8" fmla="*/ 3732245 h 5169159"/>
                  <a:gd name="connsiteX9" fmla="*/ 391885 w 20266090"/>
                  <a:gd name="connsiteY9" fmla="*/ 2444620 h 5169159"/>
                  <a:gd name="connsiteX10" fmla="*/ 1884783 w 20266090"/>
                  <a:gd name="connsiteY10" fmla="*/ 2593910 h 5169159"/>
                  <a:gd name="connsiteX11" fmla="*/ 2500604 w 20266090"/>
                  <a:gd name="connsiteY11" fmla="*/ 1922106 h 5169159"/>
                  <a:gd name="connsiteX12" fmla="*/ 3993502 w 20266090"/>
                  <a:gd name="connsiteY12" fmla="*/ 2425959 h 5169159"/>
                  <a:gd name="connsiteX13" fmla="*/ 6662057 w 20266090"/>
                  <a:gd name="connsiteY13" fmla="*/ 2239347 h 5169159"/>
                  <a:gd name="connsiteX14" fmla="*/ 7613779 w 20266090"/>
                  <a:gd name="connsiteY14" fmla="*/ 1530220 h 5169159"/>
                  <a:gd name="connsiteX15" fmla="*/ 6662057 w 20266090"/>
                  <a:gd name="connsiteY15" fmla="*/ 1455575 h 5169159"/>
                  <a:gd name="connsiteX16" fmla="*/ 9386596 w 20266090"/>
                  <a:gd name="connsiteY16" fmla="*/ 18661 h 5169159"/>
                  <a:gd name="connsiteX17" fmla="*/ 8714792 w 20266090"/>
                  <a:gd name="connsiteY17" fmla="*/ 1287624 h 5169159"/>
                  <a:gd name="connsiteX18" fmla="*/ 7651102 w 20266090"/>
                  <a:gd name="connsiteY18" fmla="*/ 3135086 h 5169159"/>
                  <a:gd name="connsiteX19" fmla="*/ 6680718 w 20266090"/>
                  <a:gd name="connsiteY19" fmla="*/ 2239347 h 5169159"/>
                  <a:gd name="connsiteX20" fmla="*/ 7109926 w 20266090"/>
                  <a:gd name="connsiteY20" fmla="*/ 3769567 h 5169159"/>
                  <a:gd name="connsiteX21" fmla="*/ 6680718 w 20266090"/>
                  <a:gd name="connsiteY21" fmla="*/ 5169159 h 5169159"/>
                  <a:gd name="connsiteX22" fmla="*/ 6400800 w 20266090"/>
                  <a:gd name="connsiteY22" fmla="*/ 3452326 h 5169159"/>
                  <a:gd name="connsiteX23" fmla="*/ 7091265 w 20266090"/>
                  <a:gd name="connsiteY23" fmla="*/ 3769567 h 5169159"/>
                  <a:gd name="connsiteX24" fmla="*/ 9797143 w 20266090"/>
                  <a:gd name="connsiteY24" fmla="*/ 2873828 h 5169159"/>
                  <a:gd name="connsiteX25" fmla="*/ 9274628 w 20266090"/>
                  <a:gd name="connsiteY25" fmla="*/ 3732245 h 5169159"/>
                  <a:gd name="connsiteX26" fmla="*/ 12465698 w 20266090"/>
                  <a:gd name="connsiteY26" fmla="*/ 4217437 h 5169159"/>
                  <a:gd name="connsiteX27" fmla="*/ 11122090 w 20266090"/>
                  <a:gd name="connsiteY27" fmla="*/ 3041779 h 5169159"/>
                  <a:gd name="connsiteX28" fmla="*/ 9815804 w 20266090"/>
                  <a:gd name="connsiteY28" fmla="*/ 2911151 h 5169159"/>
                  <a:gd name="connsiteX29" fmla="*/ 12092473 w 20266090"/>
                  <a:gd name="connsiteY29" fmla="*/ 2444620 h 5169159"/>
                  <a:gd name="connsiteX30" fmla="*/ 13566710 w 20266090"/>
                  <a:gd name="connsiteY30" fmla="*/ 1810139 h 5169159"/>
                  <a:gd name="connsiteX31" fmla="*/ 16272588 w 20266090"/>
                  <a:gd name="connsiteY31" fmla="*/ 895739 h 5169159"/>
                  <a:gd name="connsiteX32" fmla="*/ 18773192 w 20266090"/>
                  <a:gd name="connsiteY32" fmla="*/ 2276669 h 5169159"/>
                  <a:gd name="connsiteX33" fmla="*/ 19127755 w 20266090"/>
                  <a:gd name="connsiteY33" fmla="*/ 2967135 h 5169159"/>
                  <a:gd name="connsiteX34" fmla="*/ 19426334 w 20266090"/>
                  <a:gd name="connsiteY34" fmla="*/ 4478694 h 5169159"/>
                  <a:gd name="connsiteX35" fmla="*/ 18325322 w 20266090"/>
                  <a:gd name="connsiteY35" fmla="*/ 3228392 h 5169159"/>
                  <a:gd name="connsiteX36" fmla="*/ 19146416 w 20266090"/>
                  <a:gd name="connsiteY36" fmla="*/ 3004457 h 5169159"/>
                  <a:gd name="connsiteX37" fmla="*/ 20266090 w 20266090"/>
                  <a:gd name="connsiteY37" fmla="*/ 2369975 h 5169159"/>
                  <a:gd name="connsiteX38" fmla="*/ 18717208 w 20266090"/>
                  <a:gd name="connsiteY38" fmla="*/ 2220686 h 5169159"/>
                  <a:gd name="connsiteX39" fmla="*/ 18306661 w 20266090"/>
                  <a:gd name="connsiteY39" fmla="*/ 3172408 h 5169159"/>
                  <a:gd name="connsiteX40" fmla="*/ 17354939 w 20266090"/>
                  <a:gd name="connsiteY40" fmla="*/ 2425959 h 5169159"/>
                  <a:gd name="connsiteX41" fmla="*/ 16272588 w 20266090"/>
                  <a:gd name="connsiteY41" fmla="*/ 858416 h 5169159"/>
                  <a:gd name="connsiteX42" fmla="*/ 15787396 w 20266090"/>
                  <a:gd name="connsiteY42" fmla="*/ 2276669 h 5169159"/>
                  <a:gd name="connsiteX43" fmla="*/ 14518432 w 20266090"/>
                  <a:gd name="connsiteY43" fmla="*/ 2220686 h 5169159"/>
                  <a:gd name="connsiteX44" fmla="*/ 13604032 w 20266090"/>
                  <a:gd name="connsiteY44" fmla="*/ 1772816 h 5169159"/>
                  <a:gd name="connsiteX45" fmla="*/ 13417420 w 20266090"/>
                  <a:gd name="connsiteY45" fmla="*/ 2687216 h 5169159"/>
                  <a:gd name="connsiteX46" fmla="*/ 12185779 w 20266090"/>
                  <a:gd name="connsiteY46" fmla="*/ 2407298 h 5169159"/>
                  <a:gd name="connsiteX47" fmla="*/ 10767526 w 20266090"/>
                  <a:gd name="connsiteY47" fmla="*/ 1660849 h 5169159"/>
                  <a:gd name="connsiteX48" fmla="*/ 9778481 w 20266090"/>
                  <a:gd name="connsiteY48" fmla="*/ 2873828 h 5169159"/>
                  <a:gd name="connsiteX49" fmla="*/ 8733453 w 20266090"/>
                  <a:gd name="connsiteY49" fmla="*/ 2481943 h 5169159"/>
                  <a:gd name="connsiteX50" fmla="*/ 8733453 w 20266090"/>
                  <a:gd name="connsiteY50" fmla="*/ 1250302 h 5169159"/>
                  <a:gd name="connsiteX51" fmla="*/ 9815804 w 20266090"/>
                  <a:gd name="connsiteY51" fmla="*/ 2873828 h 5169159"/>
                  <a:gd name="connsiteX52" fmla="*/ 9367934 w 20266090"/>
                  <a:gd name="connsiteY52" fmla="*/ 0 h 5169159"/>
                  <a:gd name="connsiteX53" fmla="*/ 10804849 w 20266090"/>
                  <a:gd name="connsiteY53" fmla="*/ 1660849 h 5169159"/>
                  <a:gd name="connsiteX54" fmla="*/ 13585371 w 20266090"/>
                  <a:gd name="connsiteY54" fmla="*/ 1791477 h 5169159"/>
                  <a:gd name="connsiteX55" fmla="*/ 11532636 w 20266090"/>
                  <a:gd name="connsiteY55" fmla="*/ 1399592 h 5169159"/>
                  <a:gd name="connsiteX56" fmla="*/ 9367934 w 20266090"/>
                  <a:gd name="connsiteY56" fmla="*/ 18661 h 5169159"/>
                  <a:gd name="connsiteX57" fmla="*/ 13604032 w 20266090"/>
                  <a:gd name="connsiteY57" fmla="*/ 1810139 h 516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266090" h="5169159">
                    <a:moveTo>
                      <a:pt x="0" y="1101012"/>
                    </a:moveTo>
                    <a:lnTo>
                      <a:pt x="1511559" y="1642188"/>
                    </a:lnTo>
                    <a:lnTo>
                      <a:pt x="3732245" y="522514"/>
                    </a:lnTo>
                    <a:lnTo>
                      <a:pt x="5952930" y="1604865"/>
                    </a:lnTo>
                    <a:lnTo>
                      <a:pt x="6643396" y="2220686"/>
                    </a:lnTo>
                    <a:lnTo>
                      <a:pt x="6400800" y="3452326"/>
                    </a:lnTo>
                    <a:lnTo>
                      <a:pt x="5001208" y="3433665"/>
                    </a:lnTo>
                    <a:lnTo>
                      <a:pt x="3564294" y="3228392"/>
                    </a:lnTo>
                    <a:lnTo>
                      <a:pt x="1007706" y="3732245"/>
                    </a:lnTo>
                    <a:lnTo>
                      <a:pt x="391885" y="2444620"/>
                    </a:lnTo>
                    <a:lnTo>
                      <a:pt x="1884783" y="2593910"/>
                    </a:lnTo>
                    <a:lnTo>
                      <a:pt x="2500604" y="1922106"/>
                    </a:lnTo>
                    <a:lnTo>
                      <a:pt x="3993502" y="2425959"/>
                    </a:lnTo>
                    <a:lnTo>
                      <a:pt x="6662057" y="2239347"/>
                    </a:lnTo>
                    <a:lnTo>
                      <a:pt x="7613779" y="1530220"/>
                    </a:lnTo>
                    <a:lnTo>
                      <a:pt x="6662057" y="1455575"/>
                    </a:lnTo>
                    <a:lnTo>
                      <a:pt x="9386596" y="18661"/>
                    </a:lnTo>
                    <a:lnTo>
                      <a:pt x="8714792" y="1287624"/>
                    </a:lnTo>
                    <a:lnTo>
                      <a:pt x="7651102" y="3135086"/>
                    </a:lnTo>
                    <a:lnTo>
                      <a:pt x="6680718" y="2239347"/>
                    </a:lnTo>
                    <a:lnTo>
                      <a:pt x="7109926" y="3769567"/>
                    </a:lnTo>
                    <a:lnTo>
                      <a:pt x="6680718" y="5169159"/>
                    </a:lnTo>
                    <a:lnTo>
                      <a:pt x="6400800" y="3452326"/>
                    </a:lnTo>
                    <a:lnTo>
                      <a:pt x="7091265" y="3769567"/>
                    </a:lnTo>
                    <a:lnTo>
                      <a:pt x="9797143" y="2873828"/>
                    </a:lnTo>
                    <a:lnTo>
                      <a:pt x="9274628" y="3732245"/>
                    </a:lnTo>
                    <a:lnTo>
                      <a:pt x="12465698" y="4217437"/>
                    </a:lnTo>
                    <a:lnTo>
                      <a:pt x="11122090" y="3041779"/>
                    </a:lnTo>
                    <a:lnTo>
                      <a:pt x="9815804" y="2911151"/>
                    </a:lnTo>
                    <a:lnTo>
                      <a:pt x="12092473" y="2444620"/>
                    </a:lnTo>
                    <a:lnTo>
                      <a:pt x="13566710" y="1810139"/>
                    </a:lnTo>
                    <a:lnTo>
                      <a:pt x="16272588" y="895739"/>
                    </a:lnTo>
                    <a:lnTo>
                      <a:pt x="18773192" y="2276669"/>
                    </a:lnTo>
                    <a:lnTo>
                      <a:pt x="19127755" y="2967135"/>
                    </a:lnTo>
                    <a:lnTo>
                      <a:pt x="19426334" y="4478694"/>
                    </a:lnTo>
                    <a:lnTo>
                      <a:pt x="18325322" y="3228392"/>
                    </a:lnTo>
                    <a:lnTo>
                      <a:pt x="19146416" y="3004457"/>
                    </a:lnTo>
                    <a:lnTo>
                      <a:pt x="20266090" y="2369975"/>
                    </a:lnTo>
                    <a:lnTo>
                      <a:pt x="18717208" y="2220686"/>
                    </a:lnTo>
                    <a:lnTo>
                      <a:pt x="18306661" y="3172408"/>
                    </a:lnTo>
                    <a:lnTo>
                      <a:pt x="17354939" y="2425959"/>
                    </a:lnTo>
                    <a:lnTo>
                      <a:pt x="16272588" y="858416"/>
                    </a:lnTo>
                    <a:lnTo>
                      <a:pt x="15787396" y="2276669"/>
                    </a:lnTo>
                    <a:lnTo>
                      <a:pt x="14518432" y="2220686"/>
                    </a:lnTo>
                    <a:lnTo>
                      <a:pt x="13604032" y="1772816"/>
                    </a:lnTo>
                    <a:lnTo>
                      <a:pt x="13417420" y="2687216"/>
                    </a:lnTo>
                    <a:lnTo>
                      <a:pt x="12185779" y="2407298"/>
                    </a:lnTo>
                    <a:lnTo>
                      <a:pt x="10767526" y="1660849"/>
                    </a:lnTo>
                    <a:lnTo>
                      <a:pt x="9778481" y="2873828"/>
                    </a:lnTo>
                    <a:lnTo>
                      <a:pt x="8733453" y="2481943"/>
                    </a:lnTo>
                    <a:lnTo>
                      <a:pt x="8733453" y="1250302"/>
                    </a:lnTo>
                    <a:lnTo>
                      <a:pt x="9815804" y="2873828"/>
                    </a:lnTo>
                    <a:lnTo>
                      <a:pt x="9367934" y="0"/>
                    </a:lnTo>
                    <a:lnTo>
                      <a:pt x="10804849" y="1660849"/>
                    </a:lnTo>
                    <a:lnTo>
                      <a:pt x="13585371" y="1791477"/>
                    </a:lnTo>
                    <a:lnTo>
                      <a:pt x="11532636" y="1399592"/>
                    </a:lnTo>
                    <a:lnTo>
                      <a:pt x="9367934" y="18661"/>
                    </a:lnTo>
                    <a:lnTo>
                      <a:pt x="13604032" y="1810139"/>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138">
                <a:extLst>
                  <a:ext uri="{FF2B5EF4-FFF2-40B4-BE49-F238E27FC236}">
                    <a16:creationId xmlns:a16="http://schemas.microsoft.com/office/drawing/2014/main" id="{9B20EA55-91C5-D7F0-03F6-F10812CB538F}"/>
                  </a:ext>
                </a:extLst>
              </p:cNvPr>
              <p:cNvSpPr/>
              <p:nvPr/>
            </p:nvSpPr>
            <p:spPr bwMode="auto">
              <a:xfrm>
                <a:off x="13230808" y="1716833"/>
                <a:ext cx="6027576" cy="3750906"/>
              </a:xfrm>
              <a:custGeom>
                <a:avLst/>
                <a:gdLst>
                  <a:gd name="connsiteX0" fmla="*/ 6027576 w 6027576"/>
                  <a:gd name="connsiteY0" fmla="*/ 3526971 h 3750906"/>
                  <a:gd name="connsiteX1" fmla="*/ 3862874 w 6027576"/>
                  <a:gd name="connsiteY1" fmla="*/ 2463281 h 3750906"/>
                  <a:gd name="connsiteX2" fmla="*/ 2556588 w 6027576"/>
                  <a:gd name="connsiteY2" fmla="*/ 2519265 h 3750906"/>
                  <a:gd name="connsiteX3" fmla="*/ 2369976 w 6027576"/>
                  <a:gd name="connsiteY3" fmla="*/ 1380930 h 3750906"/>
                  <a:gd name="connsiteX4" fmla="*/ 3918857 w 6027576"/>
                  <a:gd name="connsiteY4" fmla="*/ 2444620 h 3750906"/>
                  <a:gd name="connsiteX5" fmla="*/ 4870580 w 6027576"/>
                  <a:gd name="connsiteY5" fmla="*/ 2388636 h 3750906"/>
                  <a:gd name="connsiteX6" fmla="*/ 2369976 w 6027576"/>
                  <a:gd name="connsiteY6" fmla="*/ 1380930 h 3750906"/>
                  <a:gd name="connsiteX7" fmla="*/ 1250302 w 6027576"/>
                  <a:gd name="connsiteY7" fmla="*/ 2799183 h 3750906"/>
                  <a:gd name="connsiteX8" fmla="*/ 2071396 w 6027576"/>
                  <a:gd name="connsiteY8" fmla="*/ 3750906 h 3750906"/>
                  <a:gd name="connsiteX9" fmla="*/ 0 w 6027576"/>
                  <a:gd name="connsiteY9" fmla="*/ 2575249 h 3750906"/>
                  <a:gd name="connsiteX10" fmla="*/ 1250302 w 6027576"/>
                  <a:gd name="connsiteY10" fmla="*/ 2836506 h 3750906"/>
                  <a:gd name="connsiteX11" fmla="*/ 74645 w 6027576"/>
                  <a:gd name="connsiteY11" fmla="*/ 1791477 h 3750906"/>
                  <a:gd name="connsiteX12" fmla="*/ 1101012 w 6027576"/>
                  <a:gd name="connsiteY12" fmla="*/ 1343608 h 3750906"/>
                  <a:gd name="connsiteX13" fmla="*/ 2892490 w 6027576"/>
                  <a:gd name="connsiteY13" fmla="*/ 0 h 375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7576" h="3750906">
                    <a:moveTo>
                      <a:pt x="6027576" y="3526971"/>
                    </a:moveTo>
                    <a:lnTo>
                      <a:pt x="3862874" y="2463281"/>
                    </a:lnTo>
                    <a:lnTo>
                      <a:pt x="2556588" y="2519265"/>
                    </a:lnTo>
                    <a:lnTo>
                      <a:pt x="2369976" y="1380930"/>
                    </a:lnTo>
                    <a:lnTo>
                      <a:pt x="3918857" y="2444620"/>
                    </a:lnTo>
                    <a:lnTo>
                      <a:pt x="4870580" y="2388636"/>
                    </a:lnTo>
                    <a:lnTo>
                      <a:pt x="2369976" y="1380930"/>
                    </a:lnTo>
                    <a:lnTo>
                      <a:pt x="1250302" y="2799183"/>
                    </a:lnTo>
                    <a:lnTo>
                      <a:pt x="2071396" y="3750906"/>
                    </a:lnTo>
                    <a:lnTo>
                      <a:pt x="0" y="2575249"/>
                    </a:lnTo>
                    <a:lnTo>
                      <a:pt x="1250302" y="2836506"/>
                    </a:lnTo>
                    <a:lnTo>
                      <a:pt x="74645" y="1791477"/>
                    </a:lnTo>
                    <a:lnTo>
                      <a:pt x="1101012" y="1343608"/>
                    </a:lnTo>
                    <a:lnTo>
                      <a:pt x="2892490" y="0"/>
                    </a:lnTo>
                  </a:path>
                </a:pathLst>
              </a:custGeom>
              <a:noFill/>
              <a:ln w="25400" cap="flat" cmpd="sng" algn="ctr">
                <a:solidFill>
                  <a:schemeClr val="tx1">
                    <a:alpha val="10000"/>
                  </a:schemeClr>
                </a:solidFill>
                <a:prstDash val="solid"/>
                <a:headEnd type="none" w="med" len="med"/>
                <a:tailEnd type="none" w="med" len="med"/>
              </a:ln>
              <a:effectLst/>
            </p:spPr>
            <p:txBody>
              <a:bodyPr rtlCol="0" anchor="ctr"/>
              <a:lstStyle/>
              <a:p>
                <a:pPr marL="0" marR="0" lvl="0" indent="0" algn="ctr" defTabSz="1093614" rtl="0" eaLnBrk="1" fontAlgn="auto" latinLnBrk="0" hangingPunct="1">
                  <a:lnSpc>
                    <a:spcPct val="100000"/>
                  </a:lnSpc>
                  <a:spcBef>
                    <a:spcPts val="0"/>
                  </a:spcBef>
                  <a:spcAft>
                    <a:spcPts val="0"/>
                  </a:spcAft>
                  <a:buClrTx/>
                  <a:buSzTx/>
                  <a:buFontTx/>
                  <a:buNone/>
                  <a:tabLst/>
                  <a:defRPr/>
                </a:pPr>
                <a:endParaRPr kumimoji="0" lang="en-US" sz="2111" b="0" i="0" u="none" strike="noStrike" kern="0" cap="none" spc="0" normalizeH="0" baseline="0" noProof="0">
                  <a:ln>
                    <a:noFill/>
                  </a:ln>
                  <a:solidFill>
                    <a:srgbClr val="FFFFFF"/>
                  </a:solidFill>
                  <a:effectLst/>
                  <a:uLnTx/>
                  <a:uFillTx/>
                  <a:latin typeface="Segoe UI"/>
                  <a:ea typeface="+mn-ea"/>
                  <a:cs typeface="+mn-cs"/>
                </a:endParaRPr>
              </a:p>
            </p:txBody>
          </p:sp>
        </p:grpSp>
        <p:sp>
          <p:nvSpPr>
            <p:cNvPr id="81" name="Freeform 80">
              <a:extLst>
                <a:ext uri="{FF2B5EF4-FFF2-40B4-BE49-F238E27FC236}">
                  <a16:creationId xmlns:a16="http://schemas.microsoft.com/office/drawing/2014/main" id="{2BED7F7E-B6B0-E577-991B-A1DFDB43A499}"/>
                </a:ext>
                <a:ext uri="{C183D7F6-B498-43B3-948B-1728B52AA6E4}">
                  <adec:decorative xmlns:adec="http://schemas.microsoft.com/office/drawing/2017/decorative" val="1"/>
                </a:ext>
              </a:extLst>
            </p:cNvPr>
            <p:cNvSpPr/>
            <p:nvPr/>
          </p:nvSpPr>
          <p:spPr>
            <a:xfrm>
              <a:off x="21211468" y="5747043"/>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29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2" name="Freeform 81">
              <a:extLst>
                <a:ext uri="{FF2B5EF4-FFF2-40B4-BE49-F238E27FC236}">
                  <a16:creationId xmlns:a16="http://schemas.microsoft.com/office/drawing/2014/main" id="{DFB71A49-7AED-628C-7195-BDCEA82182E7}"/>
                </a:ext>
                <a:ext uri="{C183D7F6-B498-43B3-948B-1728B52AA6E4}">
                  <adec:decorative xmlns:adec="http://schemas.microsoft.com/office/drawing/2017/decorative" val="1"/>
                </a:ext>
              </a:extLst>
            </p:cNvPr>
            <p:cNvSpPr/>
            <p:nvPr/>
          </p:nvSpPr>
          <p:spPr>
            <a:xfrm>
              <a:off x="15638896" y="4771688"/>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4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3" name="Freeform 82">
              <a:extLst>
                <a:ext uri="{FF2B5EF4-FFF2-40B4-BE49-F238E27FC236}">
                  <a16:creationId xmlns:a16="http://schemas.microsoft.com/office/drawing/2014/main" id="{2A850947-F2A9-382D-989B-58457B9185E2}"/>
                </a:ext>
                <a:ext uri="{C183D7F6-B498-43B3-948B-1728B52AA6E4}">
                  <adec:decorative xmlns:adec="http://schemas.microsoft.com/office/drawing/2017/decorative" val="1"/>
                </a:ext>
              </a:extLst>
            </p:cNvPr>
            <p:cNvSpPr/>
            <p:nvPr/>
          </p:nvSpPr>
          <p:spPr>
            <a:xfrm>
              <a:off x="5143404" y="7375172"/>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4" name="Freeform 83">
              <a:extLst>
                <a:ext uri="{FF2B5EF4-FFF2-40B4-BE49-F238E27FC236}">
                  <a16:creationId xmlns:a16="http://schemas.microsoft.com/office/drawing/2014/main" id="{D45A2B46-DE57-6C69-096D-EFA8858F60E4}"/>
                </a:ext>
                <a:ext uri="{C183D7F6-B498-43B3-948B-1728B52AA6E4}">
                  <adec:decorative xmlns:adec="http://schemas.microsoft.com/office/drawing/2017/decorative" val="1"/>
                </a:ext>
              </a:extLst>
            </p:cNvPr>
            <p:cNvSpPr/>
            <p:nvPr/>
          </p:nvSpPr>
          <p:spPr>
            <a:xfrm>
              <a:off x="2644106" y="6322837"/>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5" name="Freeform 84">
              <a:extLst>
                <a:ext uri="{FF2B5EF4-FFF2-40B4-BE49-F238E27FC236}">
                  <a16:creationId xmlns:a16="http://schemas.microsoft.com/office/drawing/2014/main" id="{131AF667-3A83-208F-6A4B-09DA8715A66C}"/>
                </a:ext>
                <a:ext uri="{C183D7F6-B498-43B3-948B-1728B52AA6E4}">
                  <adec:decorative xmlns:adec="http://schemas.microsoft.com/office/drawing/2017/decorative" val="1"/>
                </a:ext>
              </a:extLst>
            </p:cNvPr>
            <p:cNvSpPr/>
            <p:nvPr/>
          </p:nvSpPr>
          <p:spPr>
            <a:xfrm>
              <a:off x="9890147" y="426784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6" name="Freeform 85">
              <a:extLst>
                <a:ext uri="{FF2B5EF4-FFF2-40B4-BE49-F238E27FC236}">
                  <a16:creationId xmlns:a16="http://schemas.microsoft.com/office/drawing/2014/main" id="{E57F7202-81F8-57D4-ED68-85EAE6F04496}"/>
                </a:ext>
                <a:ext uri="{C183D7F6-B498-43B3-948B-1728B52AA6E4}">
                  <adec:decorative xmlns:adec="http://schemas.microsoft.com/office/drawing/2017/decorative" val="1"/>
                </a:ext>
              </a:extLst>
            </p:cNvPr>
            <p:cNvSpPr/>
            <p:nvPr/>
          </p:nvSpPr>
          <p:spPr>
            <a:xfrm>
              <a:off x="10404070" y="8555151"/>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4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7" name="Freeform 86">
              <a:extLst>
                <a:ext uri="{FF2B5EF4-FFF2-40B4-BE49-F238E27FC236}">
                  <a16:creationId xmlns:a16="http://schemas.microsoft.com/office/drawing/2014/main" id="{889377FB-CCCB-2767-1915-60046C574537}"/>
                </a:ext>
                <a:ext uri="{C183D7F6-B498-43B3-948B-1728B52AA6E4}">
                  <adec:decorative xmlns:adec="http://schemas.microsoft.com/office/drawing/2017/decorative" val="1"/>
                </a:ext>
              </a:extLst>
            </p:cNvPr>
            <p:cNvSpPr/>
            <p:nvPr/>
          </p:nvSpPr>
          <p:spPr>
            <a:xfrm>
              <a:off x="28633714" y="9918487"/>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8" name="Freeform 87">
              <a:extLst>
                <a:ext uri="{FF2B5EF4-FFF2-40B4-BE49-F238E27FC236}">
                  <a16:creationId xmlns:a16="http://schemas.microsoft.com/office/drawing/2014/main" id="{995323DD-AE9D-5273-CB0F-73C93AC29C11}"/>
                </a:ext>
                <a:ext uri="{C183D7F6-B498-43B3-948B-1728B52AA6E4}">
                  <adec:decorative xmlns:adec="http://schemas.microsoft.com/office/drawing/2017/decorative" val="1"/>
                </a:ext>
              </a:extLst>
            </p:cNvPr>
            <p:cNvSpPr/>
            <p:nvPr/>
          </p:nvSpPr>
          <p:spPr>
            <a:xfrm>
              <a:off x="16266330" y="7263582"/>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89" name="Freeform 88">
              <a:extLst>
                <a:ext uri="{FF2B5EF4-FFF2-40B4-BE49-F238E27FC236}">
                  <a16:creationId xmlns:a16="http://schemas.microsoft.com/office/drawing/2014/main" id="{318D0A0A-E727-6497-C8A3-4363FAF8941C}"/>
                </a:ext>
                <a:ext uri="{C183D7F6-B498-43B3-948B-1728B52AA6E4}">
                  <adec:decorative xmlns:adec="http://schemas.microsoft.com/office/drawing/2017/decorative" val="1"/>
                </a:ext>
              </a:extLst>
            </p:cNvPr>
            <p:cNvSpPr/>
            <p:nvPr/>
          </p:nvSpPr>
          <p:spPr>
            <a:xfrm>
              <a:off x="8034994" y="5844939"/>
              <a:ext cx="845294" cy="84505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1" name="Freeform 90">
              <a:extLst>
                <a:ext uri="{FF2B5EF4-FFF2-40B4-BE49-F238E27FC236}">
                  <a16:creationId xmlns:a16="http://schemas.microsoft.com/office/drawing/2014/main" id="{2BB42B3B-C8FF-C4CF-7A8D-21F30D9CBDE3}"/>
                </a:ext>
                <a:ext uri="{C183D7F6-B498-43B3-948B-1728B52AA6E4}">
                  <adec:decorative xmlns:adec="http://schemas.microsoft.com/office/drawing/2017/decorative" val="1"/>
                </a:ext>
              </a:extLst>
            </p:cNvPr>
            <p:cNvSpPr/>
            <p:nvPr/>
          </p:nvSpPr>
          <p:spPr>
            <a:xfrm>
              <a:off x="5666519" y="4136075"/>
              <a:ext cx="420496" cy="42037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2" name="Freeform 91">
              <a:extLst>
                <a:ext uri="{FF2B5EF4-FFF2-40B4-BE49-F238E27FC236}">
                  <a16:creationId xmlns:a16="http://schemas.microsoft.com/office/drawing/2014/main" id="{BBD7D5B2-28D7-DA2D-9600-D4F6844C67BB}"/>
                </a:ext>
                <a:ext uri="{C183D7F6-B498-43B3-948B-1728B52AA6E4}">
                  <adec:decorative xmlns:adec="http://schemas.microsoft.com/office/drawing/2017/decorative" val="1"/>
                </a:ext>
              </a:extLst>
            </p:cNvPr>
            <p:cNvSpPr/>
            <p:nvPr/>
          </p:nvSpPr>
          <p:spPr>
            <a:xfrm>
              <a:off x="5843436" y="6115482"/>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3" name="Freeform 92">
              <a:extLst>
                <a:ext uri="{FF2B5EF4-FFF2-40B4-BE49-F238E27FC236}">
                  <a16:creationId xmlns:a16="http://schemas.microsoft.com/office/drawing/2014/main" id="{0568D40D-836D-E28E-7796-CEEC1214A442}"/>
                </a:ext>
                <a:ext uri="{C183D7F6-B498-43B3-948B-1728B52AA6E4}">
                  <adec:decorative xmlns:adec="http://schemas.microsoft.com/office/drawing/2017/decorative" val="1"/>
                </a:ext>
              </a:extLst>
            </p:cNvPr>
            <p:cNvSpPr/>
            <p:nvPr/>
          </p:nvSpPr>
          <p:spPr>
            <a:xfrm>
              <a:off x="539316" y="623629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4" name="Freeform 93">
              <a:extLst>
                <a:ext uri="{FF2B5EF4-FFF2-40B4-BE49-F238E27FC236}">
                  <a16:creationId xmlns:a16="http://schemas.microsoft.com/office/drawing/2014/main" id="{7C8D1EA3-A9FC-9F19-F7CE-CD9FF60252C0}"/>
                </a:ext>
                <a:ext uri="{C183D7F6-B498-43B3-948B-1728B52AA6E4}">
                  <adec:decorative xmlns:adec="http://schemas.microsoft.com/office/drawing/2017/decorative" val="1"/>
                </a:ext>
              </a:extLst>
            </p:cNvPr>
            <p:cNvSpPr/>
            <p:nvPr/>
          </p:nvSpPr>
          <p:spPr>
            <a:xfrm>
              <a:off x="8800065" y="4672474"/>
              <a:ext cx="530600" cy="53045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5" name="Freeform 94">
              <a:extLst>
                <a:ext uri="{FF2B5EF4-FFF2-40B4-BE49-F238E27FC236}">
                  <a16:creationId xmlns:a16="http://schemas.microsoft.com/office/drawing/2014/main" id="{5A869D52-1AF7-4ADB-62F1-E6DE4D3B1559}"/>
                </a:ext>
                <a:ext uri="{C183D7F6-B498-43B3-948B-1728B52AA6E4}">
                  <adec:decorative xmlns:adec="http://schemas.microsoft.com/office/drawing/2017/decorative" val="1"/>
                </a:ext>
              </a:extLst>
            </p:cNvPr>
            <p:cNvSpPr/>
            <p:nvPr/>
          </p:nvSpPr>
          <p:spPr>
            <a:xfrm>
              <a:off x="16872249" y="4301168"/>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6" name="Freeform 95">
              <a:extLst>
                <a:ext uri="{FF2B5EF4-FFF2-40B4-BE49-F238E27FC236}">
                  <a16:creationId xmlns:a16="http://schemas.microsoft.com/office/drawing/2014/main" id="{C6EE2285-6FA7-E02D-E619-8D0E415DB5B7}"/>
                </a:ext>
                <a:ext uri="{C183D7F6-B498-43B3-948B-1728B52AA6E4}">
                  <adec:decorative xmlns:adec="http://schemas.microsoft.com/office/drawing/2017/decorative" val="1"/>
                </a:ext>
              </a:extLst>
            </p:cNvPr>
            <p:cNvSpPr/>
            <p:nvPr/>
          </p:nvSpPr>
          <p:spPr>
            <a:xfrm>
              <a:off x="9842200" y="5863314"/>
              <a:ext cx="533560" cy="53341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6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7" name="Freeform 96">
              <a:extLst>
                <a:ext uri="{FF2B5EF4-FFF2-40B4-BE49-F238E27FC236}">
                  <a16:creationId xmlns:a16="http://schemas.microsoft.com/office/drawing/2014/main" id="{A48D1758-A676-4C5D-8026-603B8409E65E}"/>
                </a:ext>
                <a:ext uri="{C183D7F6-B498-43B3-948B-1728B52AA6E4}">
                  <adec:decorative xmlns:adec="http://schemas.microsoft.com/office/drawing/2017/decorative" val="1"/>
                </a:ext>
              </a:extLst>
            </p:cNvPr>
            <p:cNvSpPr/>
            <p:nvPr/>
          </p:nvSpPr>
          <p:spPr>
            <a:xfrm>
              <a:off x="23221690" y="7733143"/>
              <a:ext cx="1091546" cy="109123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5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8" name="Freeform 97">
              <a:extLst>
                <a:ext uri="{FF2B5EF4-FFF2-40B4-BE49-F238E27FC236}">
                  <a16:creationId xmlns:a16="http://schemas.microsoft.com/office/drawing/2014/main" id="{B9743B55-F534-8AE0-DCB4-EB52566FEBAB}"/>
                </a:ext>
                <a:ext uri="{C183D7F6-B498-43B3-948B-1728B52AA6E4}">
                  <adec:decorative xmlns:adec="http://schemas.microsoft.com/office/drawing/2017/decorative" val="1"/>
                </a:ext>
              </a:extLst>
            </p:cNvPr>
            <p:cNvSpPr/>
            <p:nvPr/>
          </p:nvSpPr>
          <p:spPr>
            <a:xfrm>
              <a:off x="22702262" y="10213902"/>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5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99" name="Freeform 98">
              <a:extLst>
                <a:ext uri="{FF2B5EF4-FFF2-40B4-BE49-F238E27FC236}">
                  <a16:creationId xmlns:a16="http://schemas.microsoft.com/office/drawing/2014/main" id="{A3FD7EFC-BDEA-696D-3233-9B07C6796DF4}"/>
                </a:ext>
                <a:ext uri="{C183D7F6-B498-43B3-948B-1728B52AA6E4}">
                  <adec:decorative xmlns:adec="http://schemas.microsoft.com/office/drawing/2017/decorative" val="1"/>
                </a:ext>
              </a:extLst>
            </p:cNvPr>
            <p:cNvSpPr/>
            <p:nvPr/>
          </p:nvSpPr>
          <p:spPr>
            <a:xfrm>
              <a:off x="17908581" y="6037754"/>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0" name="Freeform 99">
              <a:extLst>
                <a:ext uri="{FF2B5EF4-FFF2-40B4-BE49-F238E27FC236}">
                  <a16:creationId xmlns:a16="http://schemas.microsoft.com/office/drawing/2014/main" id="{0AAAF2E7-3BB6-C8EA-E7F2-A764BFAC45C0}"/>
                </a:ext>
                <a:ext uri="{C183D7F6-B498-43B3-948B-1728B52AA6E4}">
                  <adec:decorative xmlns:adec="http://schemas.microsoft.com/office/drawing/2017/decorative" val="1"/>
                </a:ext>
              </a:extLst>
            </p:cNvPr>
            <p:cNvSpPr/>
            <p:nvPr/>
          </p:nvSpPr>
          <p:spPr>
            <a:xfrm>
              <a:off x="19756262" y="8195840"/>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1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1" name="Freeform 100">
              <a:extLst>
                <a:ext uri="{FF2B5EF4-FFF2-40B4-BE49-F238E27FC236}">
                  <a16:creationId xmlns:a16="http://schemas.microsoft.com/office/drawing/2014/main" id="{5AF394D2-3945-9910-775C-A0A12BF0819A}"/>
                </a:ext>
                <a:ext uri="{C183D7F6-B498-43B3-948B-1728B52AA6E4}">
                  <adec:decorative xmlns:adec="http://schemas.microsoft.com/office/drawing/2017/decorative" val="1"/>
                </a:ext>
              </a:extLst>
            </p:cNvPr>
            <p:cNvSpPr/>
            <p:nvPr/>
          </p:nvSpPr>
          <p:spPr>
            <a:xfrm>
              <a:off x="26856839" y="7407448"/>
              <a:ext cx="875046" cy="87480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2" name="Freeform 101">
              <a:extLst>
                <a:ext uri="{FF2B5EF4-FFF2-40B4-BE49-F238E27FC236}">
                  <a16:creationId xmlns:a16="http://schemas.microsoft.com/office/drawing/2014/main" id="{ACCFBC20-602F-62FE-5A6B-0D62C411C029}"/>
                </a:ext>
                <a:ext uri="{C183D7F6-B498-43B3-948B-1728B52AA6E4}">
                  <adec:decorative xmlns:adec="http://schemas.microsoft.com/office/drawing/2017/decorative" val="1"/>
                </a:ext>
              </a:extLst>
            </p:cNvPr>
            <p:cNvSpPr/>
            <p:nvPr/>
          </p:nvSpPr>
          <p:spPr>
            <a:xfrm>
              <a:off x="6997181" y="5089773"/>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3" name="Freeform 102">
              <a:extLst>
                <a:ext uri="{FF2B5EF4-FFF2-40B4-BE49-F238E27FC236}">
                  <a16:creationId xmlns:a16="http://schemas.microsoft.com/office/drawing/2014/main" id="{F8073CDE-D262-B63E-285F-199DD7CDD52A}"/>
                </a:ext>
                <a:ext uri="{C183D7F6-B498-43B3-948B-1728B52AA6E4}">
                  <adec:decorative xmlns:adec="http://schemas.microsoft.com/office/drawing/2017/decorative" val="1"/>
                </a:ext>
              </a:extLst>
            </p:cNvPr>
            <p:cNvSpPr/>
            <p:nvPr/>
          </p:nvSpPr>
          <p:spPr>
            <a:xfrm>
              <a:off x="13630470" y="1700413"/>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4" name="Freeform 103">
              <a:extLst>
                <a:ext uri="{FF2B5EF4-FFF2-40B4-BE49-F238E27FC236}">
                  <a16:creationId xmlns:a16="http://schemas.microsoft.com/office/drawing/2014/main" id="{6D6ECC3D-4E20-0758-D546-B2928D5357F4}"/>
                </a:ext>
                <a:ext uri="{C183D7F6-B498-43B3-948B-1728B52AA6E4}">
                  <adec:decorative xmlns:adec="http://schemas.microsoft.com/office/drawing/2017/decorative" val="1"/>
                </a:ext>
              </a:extLst>
            </p:cNvPr>
            <p:cNvSpPr/>
            <p:nvPr/>
          </p:nvSpPr>
          <p:spPr>
            <a:xfrm>
              <a:off x="2041646" y="4539395"/>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5" name="Freeform 104">
              <a:extLst>
                <a:ext uri="{FF2B5EF4-FFF2-40B4-BE49-F238E27FC236}">
                  <a16:creationId xmlns:a16="http://schemas.microsoft.com/office/drawing/2014/main" id="{157EAF24-3E82-9B50-CC82-017789661E93}"/>
                </a:ext>
                <a:ext uri="{C183D7F6-B498-43B3-948B-1728B52AA6E4}">
                  <adec:decorative xmlns:adec="http://schemas.microsoft.com/office/drawing/2017/decorative" val="1"/>
                </a:ext>
              </a:extLst>
            </p:cNvPr>
            <p:cNvSpPr/>
            <p:nvPr/>
          </p:nvSpPr>
          <p:spPr>
            <a:xfrm>
              <a:off x="863716" y="499119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6" name="Freeform 105">
              <a:extLst>
                <a:ext uri="{FF2B5EF4-FFF2-40B4-BE49-F238E27FC236}">
                  <a16:creationId xmlns:a16="http://schemas.microsoft.com/office/drawing/2014/main" id="{B94A7AA1-BE3F-040B-A824-312184C7ACF8}"/>
                </a:ext>
                <a:ext uri="{C183D7F6-B498-43B3-948B-1728B52AA6E4}">
                  <adec:decorative xmlns:adec="http://schemas.microsoft.com/office/drawing/2017/decorative" val="1"/>
                </a:ext>
              </a:extLst>
            </p:cNvPr>
            <p:cNvSpPr/>
            <p:nvPr/>
          </p:nvSpPr>
          <p:spPr>
            <a:xfrm>
              <a:off x="5176787" y="2737246"/>
              <a:ext cx="828224" cy="82799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7" name="Freeform 106">
              <a:extLst>
                <a:ext uri="{FF2B5EF4-FFF2-40B4-BE49-F238E27FC236}">
                  <a16:creationId xmlns:a16="http://schemas.microsoft.com/office/drawing/2014/main" id="{D3101849-9E94-3558-44AC-28232E7AFCB4}"/>
                </a:ext>
                <a:ext uri="{C183D7F6-B498-43B3-948B-1728B52AA6E4}">
                  <adec:decorative xmlns:adec="http://schemas.microsoft.com/office/drawing/2017/decorative" val="1"/>
                </a:ext>
              </a:extLst>
            </p:cNvPr>
            <p:cNvSpPr/>
            <p:nvPr/>
          </p:nvSpPr>
          <p:spPr>
            <a:xfrm>
              <a:off x="25188368" y="5885816"/>
              <a:ext cx="1091546" cy="109123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8" name="Freeform 107">
              <a:extLst>
                <a:ext uri="{FF2B5EF4-FFF2-40B4-BE49-F238E27FC236}">
                  <a16:creationId xmlns:a16="http://schemas.microsoft.com/office/drawing/2014/main" id="{FC965EB4-5723-2E72-A0B5-9B72361223F1}"/>
                </a:ext>
                <a:ext uri="{C183D7F6-B498-43B3-948B-1728B52AA6E4}">
                  <adec:decorative xmlns:adec="http://schemas.microsoft.com/office/drawing/2017/decorative" val="1"/>
                </a:ext>
              </a:extLst>
            </p:cNvPr>
            <p:cNvSpPr/>
            <p:nvPr/>
          </p:nvSpPr>
          <p:spPr>
            <a:xfrm>
              <a:off x="23108175" y="592132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5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09" name="Freeform 108">
              <a:extLst>
                <a:ext uri="{FF2B5EF4-FFF2-40B4-BE49-F238E27FC236}">
                  <a16:creationId xmlns:a16="http://schemas.microsoft.com/office/drawing/2014/main" id="{AAAB122C-9125-FD7A-3EC6-79D9939C85D1}"/>
                </a:ext>
                <a:ext uri="{C183D7F6-B498-43B3-948B-1728B52AA6E4}">
                  <adec:decorative xmlns:adec="http://schemas.microsoft.com/office/drawing/2017/decorative" val="1"/>
                </a:ext>
              </a:extLst>
            </p:cNvPr>
            <p:cNvSpPr/>
            <p:nvPr/>
          </p:nvSpPr>
          <p:spPr>
            <a:xfrm>
              <a:off x="23821317" y="3329737"/>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28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0" name="Freeform 109">
              <a:extLst>
                <a:ext uri="{FF2B5EF4-FFF2-40B4-BE49-F238E27FC236}">
                  <a16:creationId xmlns:a16="http://schemas.microsoft.com/office/drawing/2014/main" id="{B3B235BC-402A-62BD-7222-DE61437D2131}"/>
                </a:ext>
                <a:ext uri="{C183D7F6-B498-43B3-948B-1728B52AA6E4}">
                  <adec:decorative xmlns:adec="http://schemas.microsoft.com/office/drawing/2017/decorative" val="1"/>
                </a:ext>
              </a:extLst>
            </p:cNvPr>
            <p:cNvSpPr/>
            <p:nvPr/>
          </p:nvSpPr>
          <p:spPr>
            <a:xfrm>
              <a:off x="19873891" y="4923793"/>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1" name="Freeform 110">
              <a:extLst>
                <a:ext uri="{FF2B5EF4-FFF2-40B4-BE49-F238E27FC236}">
                  <a16:creationId xmlns:a16="http://schemas.microsoft.com/office/drawing/2014/main" id="{33F1BBCE-BB2A-2CCB-C6D5-1C8BBDEE08B9}"/>
                </a:ext>
                <a:ext uri="{C183D7F6-B498-43B3-948B-1728B52AA6E4}">
                  <adec:decorative xmlns:adec="http://schemas.microsoft.com/office/drawing/2017/decorative" val="1"/>
                </a:ext>
              </a:extLst>
            </p:cNvPr>
            <p:cNvSpPr/>
            <p:nvPr/>
          </p:nvSpPr>
          <p:spPr>
            <a:xfrm>
              <a:off x="25310539" y="7858704"/>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2" name="Freeform 111">
              <a:extLst>
                <a:ext uri="{FF2B5EF4-FFF2-40B4-BE49-F238E27FC236}">
                  <a16:creationId xmlns:a16="http://schemas.microsoft.com/office/drawing/2014/main" id="{7E51895E-0AC6-A80D-425F-A8327E24DD99}"/>
                </a:ext>
                <a:ext uri="{C183D7F6-B498-43B3-948B-1728B52AA6E4}">
                  <adec:decorative xmlns:adec="http://schemas.microsoft.com/office/drawing/2017/decorative" val="1"/>
                </a:ext>
              </a:extLst>
            </p:cNvPr>
            <p:cNvSpPr/>
            <p:nvPr/>
          </p:nvSpPr>
          <p:spPr>
            <a:xfrm>
              <a:off x="14355414" y="695185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3" name="Freeform 112">
              <a:extLst>
                <a:ext uri="{FF2B5EF4-FFF2-40B4-BE49-F238E27FC236}">
                  <a16:creationId xmlns:a16="http://schemas.microsoft.com/office/drawing/2014/main" id="{F0A7DA4C-4F8F-E4CD-ADFF-0890485E40CF}"/>
                </a:ext>
                <a:ext uri="{C183D7F6-B498-43B3-948B-1728B52AA6E4}">
                  <adec:decorative xmlns:adec="http://schemas.microsoft.com/office/drawing/2017/decorative" val="1"/>
                </a:ext>
              </a:extLst>
            </p:cNvPr>
            <p:cNvSpPr/>
            <p:nvPr/>
          </p:nvSpPr>
          <p:spPr>
            <a:xfrm>
              <a:off x="12737436" y="6217240"/>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73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4" name="Freeform 113">
              <a:extLst>
                <a:ext uri="{FF2B5EF4-FFF2-40B4-BE49-F238E27FC236}">
                  <a16:creationId xmlns:a16="http://schemas.microsoft.com/office/drawing/2014/main" id="{3C31E23D-FEDF-8B59-617D-45547EA3A0CA}"/>
                </a:ext>
                <a:ext uri="{C183D7F6-B498-43B3-948B-1728B52AA6E4}">
                  <adec:decorative xmlns:adec="http://schemas.microsoft.com/office/drawing/2017/decorative" val="1"/>
                </a:ext>
              </a:extLst>
            </p:cNvPr>
            <p:cNvSpPr/>
            <p:nvPr/>
          </p:nvSpPr>
          <p:spPr>
            <a:xfrm>
              <a:off x="9425522" y="8045470"/>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6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5" name="Freeform 114">
              <a:extLst>
                <a:ext uri="{FF2B5EF4-FFF2-40B4-BE49-F238E27FC236}">
                  <a16:creationId xmlns:a16="http://schemas.microsoft.com/office/drawing/2014/main" id="{CC12CECA-FFE7-DCD9-C284-A28D09CA3382}"/>
                </a:ext>
                <a:ext uri="{C183D7F6-B498-43B3-948B-1728B52AA6E4}">
                  <adec:decorative xmlns:adec="http://schemas.microsoft.com/office/drawing/2017/decorative" val="1"/>
                </a:ext>
              </a:extLst>
            </p:cNvPr>
            <p:cNvSpPr/>
            <p:nvPr/>
          </p:nvSpPr>
          <p:spPr>
            <a:xfrm>
              <a:off x="1420655" y="850842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6" name="Freeform 115">
              <a:extLst>
                <a:ext uri="{FF2B5EF4-FFF2-40B4-BE49-F238E27FC236}">
                  <a16:creationId xmlns:a16="http://schemas.microsoft.com/office/drawing/2014/main" id="{B9900105-43F5-06E2-AF28-1544370CE3A6}"/>
                </a:ext>
                <a:ext uri="{C183D7F6-B498-43B3-948B-1728B52AA6E4}">
                  <adec:decorative xmlns:adec="http://schemas.microsoft.com/office/drawing/2017/decorative" val="1"/>
                </a:ext>
              </a:extLst>
            </p:cNvPr>
            <p:cNvSpPr/>
            <p:nvPr/>
          </p:nvSpPr>
          <p:spPr>
            <a:xfrm>
              <a:off x="15687323" y="890874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4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7" name="Freeform 116">
              <a:extLst>
                <a:ext uri="{FF2B5EF4-FFF2-40B4-BE49-F238E27FC236}">
                  <a16:creationId xmlns:a16="http://schemas.microsoft.com/office/drawing/2014/main" id="{8079BE06-C234-B814-0740-1E9667EA7967}"/>
                </a:ext>
                <a:ext uri="{C183D7F6-B498-43B3-948B-1728B52AA6E4}">
                  <adec:decorative xmlns:adec="http://schemas.microsoft.com/office/drawing/2017/decorative" val="1"/>
                </a:ext>
              </a:extLst>
            </p:cNvPr>
            <p:cNvSpPr/>
            <p:nvPr/>
          </p:nvSpPr>
          <p:spPr>
            <a:xfrm>
              <a:off x="19652419" y="6545258"/>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1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8" name="Freeform 117">
              <a:extLst>
                <a:ext uri="{FF2B5EF4-FFF2-40B4-BE49-F238E27FC236}">
                  <a16:creationId xmlns:a16="http://schemas.microsoft.com/office/drawing/2014/main" id="{321C1BFC-0A45-AB39-79DF-DC0EE8B6877E}"/>
                </a:ext>
                <a:ext uri="{C183D7F6-B498-43B3-948B-1728B52AA6E4}">
                  <adec:decorative xmlns:adec="http://schemas.microsoft.com/office/drawing/2017/decorative" val="1"/>
                </a:ext>
              </a:extLst>
            </p:cNvPr>
            <p:cNvSpPr/>
            <p:nvPr/>
          </p:nvSpPr>
          <p:spPr>
            <a:xfrm>
              <a:off x="9784764" y="11226029"/>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73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chemeClr val="accent4">
                  <a:lumMod val="1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19" name="Freeform 118">
              <a:extLst>
                <a:ext uri="{FF2B5EF4-FFF2-40B4-BE49-F238E27FC236}">
                  <a16:creationId xmlns:a16="http://schemas.microsoft.com/office/drawing/2014/main" id="{0BAD64D0-722D-73DA-BD05-ED0C8026B349}"/>
                </a:ext>
                <a:ext uri="{C183D7F6-B498-43B3-948B-1728B52AA6E4}">
                  <adec:decorative xmlns:adec="http://schemas.microsoft.com/office/drawing/2017/decorative" val="1"/>
                </a:ext>
              </a:extLst>
            </p:cNvPr>
            <p:cNvSpPr/>
            <p:nvPr/>
          </p:nvSpPr>
          <p:spPr>
            <a:xfrm>
              <a:off x="18165602" y="9355599"/>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1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0" name="Freeform 119">
              <a:extLst>
                <a:ext uri="{FF2B5EF4-FFF2-40B4-BE49-F238E27FC236}">
                  <a16:creationId xmlns:a16="http://schemas.microsoft.com/office/drawing/2014/main" id="{67A1E9ED-4A34-0F09-8597-01F6972F6420}"/>
                </a:ext>
                <a:ext uri="{C183D7F6-B498-43B3-948B-1728B52AA6E4}">
                  <adec:decorative xmlns:adec="http://schemas.microsoft.com/office/drawing/2017/decorative" val="1"/>
                </a:ext>
              </a:extLst>
            </p:cNvPr>
            <p:cNvSpPr/>
            <p:nvPr/>
          </p:nvSpPr>
          <p:spPr>
            <a:xfrm>
              <a:off x="27580539" y="5914889"/>
              <a:ext cx="590996" cy="59083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1" name="Freeform 120">
              <a:extLst>
                <a:ext uri="{FF2B5EF4-FFF2-40B4-BE49-F238E27FC236}">
                  <a16:creationId xmlns:a16="http://schemas.microsoft.com/office/drawing/2014/main" id="{980D195A-52A7-D93C-B5F8-7A7583D2BFA8}"/>
                </a:ext>
                <a:ext uri="{C183D7F6-B498-43B3-948B-1728B52AA6E4}">
                  <adec:decorative xmlns:adec="http://schemas.microsoft.com/office/drawing/2017/decorative" val="1"/>
                </a:ext>
              </a:extLst>
            </p:cNvPr>
            <p:cNvSpPr/>
            <p:nvPr/>
          </p:nvSpPr>
          <p:spPr>
            <a:xfrm>
              <a:off x="21438471" y="8491255"/>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29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2" name="Freeform 121">
              <a:extLst>
                <a:ext uri="{FF2B5EF4-FFF2-40B4-BE49-F238E27FC236}">
                  <a16:creationId xmlns:a16="http://schemas.microsoft.com/office/drawing/2014/main" id="{D03E2232-1499-81E5-E0D5-B6FAF59D8625}"/>
                </a:ext>
                <a:ext uri="{C183D7F6-B498-43B3-948B-1728B52AA6E4}">
                  <adec:decorative xmlns:adec="http://schemas.microsoft.com/office/drawing/2017/decorative" val="1"/>
                </a:ext>
              </a:extLst>
            </p:cNvPr>
            <p:cNvSpPr/>
            <p:nvPr/>
          </p:nvSpPr>
          <p:spPr>
            <a:xfrm>
              <a:off x="7095095" y="7855275"/>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22000">
                  <a:srgbClr val="684CB4"/>
                </a:gs>
                <a:gs pos="100000">
                  <a:srgbClr val="0A6BBA"/>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463668"/>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3" name="Freeform 122">
              <a:extLst>
                <a:ext uri="{FF2B5EF4-FFF2-40B4-BE49-F238E27FC236}">
                  <a16:creationId xmlns:a16="http://schemas.microsoft.com/office/drawing/2014/main" id="{0E7CFF80-F45D-C018-24F3-35DE2D7E3376}"/>
                </a:ext>
                <a:ext uri="{C183D7F6-B498-43B3-948B-1728B52AA6E4}">
                  <adec:decorative xmlns:adec="http://schemas.microsoft.com/office/drawing/2017/decorative" val="1"/>
                </a:ext>
              </a:extLst>
            </p:cNvPr>
            <p:cNvSpPr/>
            <p:nvPr/>
          </p:nvSpPr>
          <p:spPr>
            <a:xfrm>
              <a:off x="28103626" y="7146642"/>
              <a:ext cx="737085" cy="736877"/>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7000">
                  <a:schemeClr val="accent4"/>
                </a:gs>
                <a:gs pos="76000">
                  <a:schemeClr val="accent5"/>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824164"/>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4" name="Freeform 123">
              <a:extLst>
                <a:ext uri="{FF2B5EF4-FFF2-40B4-BE49-F238E27FC236}">
                  <a16:creationId xmlns:a16="http://schemas.microsoft.com/office/drawing/2014/main" id="{8E66E529-0484-1D4E-BBA7-C693EB0A6D73}"/>
                </a:ext>
                <a:ext uri="{C183D7F6-B498-43B3-948B-1728B52AA6E4}">
                  <adec:decorative xmlns:adec="http://schemas.microsoft.com/office/drawing/2017/decorative" val="1"/>
                </a:ext>
              </a:extLst>
            </p:cNvPr>
            <p:cNvSpPr/>
            <p:nvPr/>
          </p:nvSpPr>
          <p:spPr>
            <a:xfrm>
              <a:off x="11026621" y="4571018"/>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4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5" name="Freeform 124">
              <a:extLst>
                <a:ext uri="{FF2B5EF4-FFF2-40B4-BE49-F238E27FC236}">
                  <a16:creationId xmlns:a16="http://schemas.microsoft.com/office/drawing/2014/main" id="{45278F72-BFC5-8BF7-0F8E-3CA1C642F790}"/>
                </a:ext>
                <a:ext uri="{C183D7F6-B498-43B3-948B-1728B52AA6E4}">
                  <adec:decorative xmlns:adec="http://schemas.microsoft.com/office/drawing/2017/decorative" val="1"/>
                </a:ext>
              </a:extLst>
            </p:cNvPr>
            <p:cNvSpPr/>
            <p:nvPr/>
          </p:nvSpPr>
          <p:spPr>
            <a:xfrm>
              <a:off x="11115333" y="7263582"/>
              <a:ext cx="903840" cy="903590"/>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9000">
                  <a:schemeClr val="accent1"/>
                </a:gs>
                <a:gs pos="46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chemeClr val="accent1">
                  <a:lumMod val="50000"/>
                </a:schemeClr>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6" name="Freeform 125">
              <a:extLst>
                <a:ext uri="{FF2B5EF4-FFF2-40B4-BE49-F238E27FC236}">
                  <a16:creationId xmlns:a16="http://schemas.microsoft.com/office/drawing/2014/main" id="{B40E0ABD-C541-816C-D91C-E505B1A4B04E}"/>
                </a:ext>
                <a:ext uri="{C183D7F6-B498-43B3-948B-1728B52AA6E4}">
                  <adec:decorative xmlns:adec="http://schemas.microsoft.com/office/drawing/2017/decorative" val="1"/>
                </a:ext>
              </a:extLst>
            </p:cNvPr>
            <p:cNvSpPr/>
            <p:nvPr/>
          </p:nvSpPr>
          <p:spPr>
            <a:xfrm>
              <a:off x="12771395" y="4090736"/>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73000">
                  <a:schemeClr val="accent2"/>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7" name="Freeform 126">
              <a:extLst>
                <a:ext uri="{FF2B5EF4-FFF2-40B4-BE49-F238E27FC236}">
                  <a16:creationId xmlns:a16="http://schemas.microsoft.com/office/drawing/2014/main" id="{3B319DCF-0A38-2F28-D42A-121C0DC3BAEE}"/>
                </a:ext>
                <a:ext uri="{C183D7F6-B498-43B3-948B-1728B52AA6E4}">
                  <adec:decorative xmlns:adec="http://schemas.microsoft.com/office/drawing/2017/decorative" val="1"/>
                </a:ext>
              </a:extLst>
            </p:cNvPr>
            <p:cNvSpPr/>
            <p:nvPr/>
          </p:nvSpPr>
          <p:spPr>
            <a:xfrm>
              <a:off x="13588373" y="8540306"/>
              <a:ext cx="737084" cy="736878"/>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11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8" name="Freeform 127">
              <a:extLst>
                <a:ext uri="{FF2B5EF4-FFF2-40B4-BE49-F238E27FC236}">
                  <a16:creationId xmlns:a16="http://schemas.microsoft.com/office/drawing/2014/main" id="{D6649248-E51B-5A42-EE0E-5BFC6A20C03F}"/>
                </a:ext>
                <a:ext uri="{C183D7F6-B498-43B3-948B-1728B52AA6E4}">
                  <adec:decorative xmlns:adec="http://schemas.microsoft.com/office/drawing/2017/decorative" val="1"/>
                </a:ext>
              </a:extLst>
            </p:cNvPr>
            <p:cNvSpPr/>
            <p:nvPr/>
          </p:nvSpPr>
          <p:spPr>
            <a:xfrm>
              <a:off x="15194849" y="10152388"/>
              <a:ext cx="1008828" cy="1008552"/>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48000">
                  <a:schemeClr val="accent4"/>
                </a:gs>
                <a:gs pos="100000">
                  <a:schemeClr val="accent3"/>
                </a:gs>
              </a:gsLst>
              <a:path path="circle">
                <a:fillToRect l="100000" t="100000"/>
              </a:path>
            </a:gradFill>
            <a:ln w="19050" cap="flat" cmpd="sng" algn="ctr">
              <a:noFill/>
              <a:prstDash val="solid"/>
              <a:headEnd type="none" w="med" len="med"/>
              <a:tailEnd type="none" w="med" len="med"/>
            </a:ln>
            <a:effectLst/>
            <a:scene3d>
              <a:camera prst="isometricOffAxis1Right">
                <a:rot lat="334589" lon="718971" rev="153210"/>
              </a:camera>
              <a:lightRig rig="flood" dir="t">
                <a:rot lat="0" lon="0" rev="10800000"/>
              </a:lightRig>
            </a:scene3d>
            <a:sp3d extrusionH="190500" prstMaterial="matte">
              <a:extrusionClr>
                <a:srgbClr val="5D57AB"/>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sp>
          <p:nvSpPr>
            <p:cNvPr id="129" name="Freeform 128">
              <a:extLst>
                <a:ext uri="{FF2B5EF4-FFF2-40B4-BE49-F238E27FC236}">
                  <a16:creationId xmlns:a16="http://schemas.microsoft.com/office/drawing/2014/main" id="{39E08B85-E46B-F908-8AF4-129DFC120C2B}"/>
                </a:ext>
                <a:ext uri="{C183D7F6-B498-43B3-948B-1728B52AA6E4}">
                  <adec:decorative xmlns:adec="http://schemas.microsoft.com/office/drawing/2017/decorative" val="1"/>
                </a:ext>
              </a:extLst>
            </p:cNvPr>
            <p:cNvSpPr/>
            <p:nvPr/>
          </p:nvSpPr>
          <p:spPr>
            <a:xfrm>
              <a:off x="3708257" y="5244193"/>
              <a:ext cx="632080" cy="631906"/>
            </a:xfrm>
            <a:custGeom>
              <a:avLst/>
              <a:gdLst>
                <a:gd name="connsiteX0" fmla="*/ 1159048 w 2299936"/>
                <a:gd name="connsiteY0" fmla="*/ 427 h 2299302"/>
                <a:gd name="connsiteX1" fmla="*/ 1385240 w 2299936"/>
                <a:gd name="connsiteY1" fmla="*/ 169998 h 2299302"/>
                <a:gd name="connsiteX2" fmla="*/ 1487461 w 2299936"/>
                <a:gd name="connsiteY2" fmla="*/ 484264 h 2299302"/>
                <a:gd name="connsiteX3" fmla="*/ 1809686 w 2299936"/>
                <a:gd name="connsiteY3" fmla="*/ 806666 h 2299302"/>
                <a:gd name="connsiteX4" fmla="*/ 2120062 w 2299936"/>
                <a:gd name="connsiteY4" fmla="*/ 907472 h 2299302"/>
                <a:gd name="connsiteX5" fmla="*/ 2285437 w 2299936"/>
                <a:gd name="connsiteY5" fmla="*/ 1066685 h 2299302"/>
                <a:gd name="connsiteX6" fmla="*/ 2129258 w 2299936"/>
                <a:gd name="connsiteY6" fmla="*/ 1392048 h 2299302"/>
                <a:gd name="connsiteX7" fmla="*/ 1814815 w 2299936"/>
                <a:gd name="connsiteY7" fmla="*/ 1494268 h 2299302"/>
                <a:gd name="connsiteX8" fmla="*/ 1493474 w 2299936"/>
                <a:gd name="connsiteY8" fmla="*/ 1814725 h 2299302"/>
                <a:gd name="connsiteX9" fmla="*/ 1385063 w 2299936"/>
                <a:gd name="connsiteY9" fmla="*/ 2144378 h 2299302"/>
                <a:gd name="connsiteX10" fmla="*/ 1150380 w 2299936"/>
                <a:gd name="connsiteY10" fmla="*/ 2298593 h 2299302"/>
                <a:gd name="connsiteX11" fmla="*/ 1150380 w 2299936"/>
                <a:gd name="connsiteY11" fmla="*/ 2299301 h 2299302"/>
                <a:gd name="connsiteX12" fmla="*/ 1002531 w 2299936"/>
                <a:gd name="connsiteY12" fmla="*/ 2252612 h 2299302"/>
                <a:gd name="connsiteX13" fmla="*/ 1002531 w 2299936"/>
                <a:gd name="connsiteY13" fmla="*/ 2252435 h 2299302"/>
                <a:gd name="connsiteX14" fmla="*/ 909330 w 2299936"/>
                <a:gd name="connsiteY14" fmla="*/ 2128638 h 2299302"/>
                <a:gd name="connsiteX15" fmla="*/ 807109 w 2299936"/>
                <a:gd name="connsiteY15" fmla="*/ 1814725 h 2299302"/>
                <a:gd name="connsiteX16" fmla="*/ 484884 w 2299936"/>
                <a:gd name="connsiteY16" fmla="*/ 1491793 h 2299302"/>
                <a:gd name="connsiteX17" fmla="*/ 174685 w 2299936"/>
                <a:gd name="connsiteY17" fmla="*/ 1391164 h 2299302"/>
                <a:gd name="connsiteX18" fmla="*/ 14199 w 2299936"/>
                <a:gd name="connsiteY18" fmla="*/ 1232661 h 2299302"/>
                <a:gd name="connsiteX19" fmla="*/ 171679 w 2299936"/>
                <a:gd name="connsiteY19" fmla="*/ 907649 h 2299302"/>
                <a:gd name="connsiteX20" fmla="*/ 485945 w 2299936"/>
                <a:gd name="connsiteY20" fmla="*/ 806666 h 2299302"/>
                <a:gd name="connsiteX21" fmla="*/ 798974 w 2299936"/>
                <a:gd name="connsiteY21" fmla="*/ 490808 h 2299302"/>
                <a:gd name="connsiteX22" fmla="*/ 902079 w 2299936"/>
                <a:gd name="connsiteY22" fmla="*/ 173888 h 2299302"/>
                <a:gd name="connsiteX23" fmla="*/ 1058534 w 2299936"/>
                <a:gd name="connsiteY23" fmla="*/ 14893 h 2299302"/>
                <a:gd name="connsiteX24" fmla="*/ 1159048 w 2299936"/>
                <a:gd name="connsiteY24" fmla="*/ 427 h 229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99936" h="2299302">
                  <a:moveTo>
                    <a:pt x="1159048" y="427"/>
                  </a:moveTo>
                  <a:cubicBezTo>
                    <a:pt x="1258540" y="6204"/>
                    <a:pt x="1349706" y="70212"/>
                    <a:pt x="1385240" y="169998"/>
                  </a:cubicBezTo>
                  <a:lnTo>
                    <a:pt x="1487461" y="484264"/>
                  </a:lnTo>
                  <a:cubicBezTo>
                    <a:pt x="1538005" y="636540"/>
                    <a:pt x="1657434" y="756037"/>
                    <a:pt x="1809686" y="806666"/>
                  </a:cubicBezTo>
                  <a:lnTo>
                    <a:pt x="2120062" y="907472"/>
                  </a:lnTo>
                  <a:cubicBezTo>
                    <a:pt x="2197293" y="931356"/>
                    <a:pt x="2258643" y="990418"/>
                    <a:pt x="2285437" y="1066685"/>
                  </a:cubicBezTo>
                  <a:cubicBezTo>
                    <a:pt x="2332161" y="1199659"/>
                    <a:pt x="2262233" y="1345323"/>
                    <a:pt x="2129258" y="1392048"/>
                  </a:cubicBezTo>
                  <a:lnTo>
                    <a:pt x="1814815" y="1494268"/>
                  </a:lnTo>
                  <a:cubicBezTo>
                    <a:pt x="1663287" y="1544636"/>
                    <a:pt x="1544266" y="1663339"/>
                    <a:pt x="1493474" y="1814725"/>
                  </a:cubicBezTo>
                  <a:lnTo>
                    <a:pt x="1385063" y="2144378"/>
                  </a:lnTo>
                  <a:cubicBezTo>
                    <a:pt x="1344723" y="2238110"/>
                    <a:pt x="1252406" y="2298770"/>
                    <a:pt x="1150380" y="2298593"/>
                  </a:cubicBezTo>
                  <a:lnTo>
                    <a:pt x="1150380" y="2299301"/>
                  </a:lnTo>
                  <a:cubicBezTo>
                    <a:pt x="1097501" y="2299478"/>
                    <a:pt x="1045860" y="2283207"/>
                    <a:pt x="1002531" y="2252612"/>
                  </a:cubicBezTo>
                  <a:lnTo>
                    <a:pt x="1002531" y="2252435"/>
                  </a:lnTo>
                  <a:cubicBezTo>
                    <a:pt x="959379" y="2222016"/>
                    <a:pt x="926839" y="2178688"/>
                    <a:pt x="909330" y="2128638"/>
                  </a:cubicBezTo>
                  <a:lnTo>
                    <a:pt x="807109" y="1814725"/>
                  </a:lnTo>
                  <a:cubicBezTo>
                    <a:pt x="756436" y="1662420"/>
                    <a:pt x="637085" y="1542797"/>
                    <a:pt x="484884" y="1491793"/>
                  </a:cubicBezTo>
                  <a:lnTo>
                    <a:pt x="174685" y="1391164"/>
                  </a:lnTo>
                  <a:cubicBezTo>
                    <a:pt x="99491" y="1366104"/>
                    <a:pt x="40198" y="1307530"/>
                    <a:pt x="14199" y="1232661"/>
                  </a:cubicBezTo>
                  <a:cubicBezTo>
                    <a:pt x="-32064" y="1099424"/>
                    <a:pt x="38442" y="953912"/>
                    <a:pt x="171679" y="907649"/>
                  </a:cubicBezTo>
                  <a:lnTo>
                    <a:pt x="485945" y="806666"/>
                  </a:lnTo>
                  <a:cubicBezTo>
                    <a:pt x="633210" y="754964"/>
                    <a:pt x="748600" y="638533"/>
                    <a:pt x="798974" y="490808"/>
                  </a:cubicBezTo>
                  <a:lnTo>
                    <a:pt x="902079" y="173888"/>
                  </a:lnTo>
                  <a:cubicBezTo>
                    <a:pt x="927150" y="99739"/>
                    <a:pt x="984798" y="41155"/>
                    <a:pt x="1058534" y="14893"/>
                  </a:cubicBezTo>
                  <a:cubicBezTo>
                    <a:pt x="1091796" y="3047"/>
                    <a:pt x="1125885" y="-1498"/>
                    <a:pt x="1159048" y="427"/>
                  </a:cubicBezTo>
                  <a:close/>
                </a:path>
              </a:pathLst>
            </a:custGeom>
            <a:gradFill>
              <a:gsLst>
                <a:gs pos="76000">
                  <a:schemeClr val="accent1"/>
                </a:gs>
                <a:gs pos="35000">
                  <a:schemeClr val="tx2"/>
                </a:gs>
              </a:gsLst>
              <a:path path="circle">
                <a:fillToRect l="100000" t="100000"/>
              </a:path>
            </a:gradFill>
            <a:ln w="19050" cap="flat" cmpd="sng" algn="ctr">
              <a:noFill/>
              <a:prstDash val="solid"/>
              <a:headEnd type="none" w="med" len="med"/>
              <a:tailEnd type="none" w="med" len="med"/>
            </a:ln>
            <a:effectLst/>
            <a:scene3d>
              <a:camera prst="isometricOffAxis1Right">
                <a:rot lat="367885" lon="20811342" rev="21596953"/>
              </a:camera>
              <a:lightRig rig="flood" dir="t">
                <a:rot lat="0" lon="0" rev="0"/>
              </a:lightRig>
            </a:scene3d>
            <a:sp3d extrusionH="190500" prstMaterial="matte">
              <a:extrusionClr>
                <a:srgbClr val="2A446F"/>
              </a:extrusionClr>
            </a:sp3d>
          </p:spPr>
          <p:txBody>
            <a:bodyPr rot="0" spcFirstLastPara="0" vertOverflow="overflow" horzOverflow="overflow" vert="horz" wrap="square" lIns="214365" tIns="171492" rIns="214365" bIns="171492" numCol="1" spcCol="0" rtlCol="0" fromWordArt="0" anchor="t" anchorCtr="0" forceAA="0" compatLnSpc="1">
              <a:prstTxWarp prst="textNoShape">
                <a:avLst/>
              </a:prstTxWarp>
              <a:noAutofit/>
            </a:bodyPr>
            <a:lstStyle/>
            <a:p>
              <a:pPr marL="0" marR="0" lvl="0" indent="0" algn="l" defTabSz="1093015" rtl="0" eaLnBrk="1" fontAlgn="base" latinLnBrk="0" hangingPunct="1">
                <a:lnSpc>
                  <a:spcPct val="100000"/>
                </a:lnSpc>
                <a:spcBef>
                  <a:spcPct val="0"/>
                </a:spcBef>
                <a:spcAft>
                  <a:spcPct val="0"/>
                </a:spcAft>
                <a:buClrTx/>
                <a:buSzTx/>
                <a:buFontTx/>
                <a:buNone/>
                <a:tabLst/>
                <a:defRPr/>
              </a:pPr>
              <a:endParaRPr kumimoji="0" lang="en-US" sz="2344" b="0" i="0" u="none" strike="noStrike" kern="0" cap="none" spc="0" normalizeH="0" baseline="0" noProof="0">
                <a:ln>
                  <a:noFill/>
                </a:ln>
                <a:noFill/>
                <a:effectLst/>
                <a:uLnTx/>
                <a:uFillTx/>
                <a:latin typeface="Segoe UI Variable Display Semib" pitchFamily="2" charset="0"/>
                <a:ea typeface="+mn-ea"/>
                <a:cs typeface="Segoe UI" pitchFamily="34" charset="0"/>
              </a:endParaRPr>
            </a:p>
          </p:txBody>
        </p:sp>
      </p:grpSp>
      <p:grpSp>
        <p:nvGrpSpPr>
          <p:cNvPr id="34" name="Group 33">
            <a:extLst>
              <a:ext uri="{FF2B5EF4-FFF2-40B4-BE49-F238E27FC236}">
                <a16:creationId xmlns:a16="http://schemas.microsoft.com/office/drawing/2014/main" id="{2486BFDC-E0A4-FF55-0E4E-80BAFF0E301E}"/>
              </a:ext>
            </a:extLst>
          </p:cNvPr>
          <p:cNvGrpSpPr/>
          <p:nvPr/>
        </p:nvGrpSpPr>
        <p:grpSpPr>
          <a:xfrm>
            <a:off x="1707503" y="5386709"/>
            <a:ext cx="9010959" cy="246221"/>
            <a:chOff x="1707503" y="5355975"/>
            <a:chExt cx="9010959" cy="246221"/>
          </a:xfrm>
        </p:grpSpPr>
        <p:sp>
          <p:nvSpPr>
            <p:cNvPr id="8" name="TextBox 7">
              <a:extLst>
                <a:ext uri="{FF2B5EF4-FFF2-40B4-BE49-F238E27FC236}">
                  <a16:creationId xmlns:a16="http://schemas.microsoft.com/office/drawing/2014/main" id="{A7E18F72-B961-8BF4-4406-E8FBBA550378}"/>
                </a:ext>
              </a:extLst>
            </p:cNvPr>
            <p:cNvSpPr txBox="1"/>
            <p:nvPr/>
          </p:nvSpPr>
          <p:spPr>
            <a:xfrm>
              <a:off x="7003214" y="5355975"/>
              <a:ext cx="1822465" cy="246221"/>
            </a:xfrm>
            <a:prstGeom prst="rect">
              <a:avLst/>
            </a:prstGeom>
            <a:noFill/>
          </p:spPr>
          <p:txBody>
            <a:bodyPr wrap="square" lIns="0" tIns="0" rIns="0" bIns="0" rtlCol="0" anchor="t">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Aptos" panose="020B0004020202020204" pitchFamily="34" charset="0"/>
                  <a:cs typeface="Segoe UI Semibold" panose="020B0702040204020203" pitchFamily="34" charset="0"/>
                </a:rPr>
                <a:t>Interoperability</a:t>
              </a:r>
            </a:p>
          </p:txBody>
        </p:sp>
        <p:sp>
          <p:nvSpPr>
            <p:cNvPr id="11" name="TextBox 10">
              <a:extLst>
                <a:ext uri="{FF2B5EF4-FFF2-40B4-BE49-F238E27FC236}">
                  <a16:creationId xmlns:a16="http://schemas.microsoft.com/office/drawing/2014/main" id="{04410839-1051-D185-BE41-6938954F82CF}"/>
                </a:ext>
              </a:extLst>
            </p:cNvPr>
            <p:cNvSpPr txBox="1"/>
            <p:nvPr/>
          </p:nvSpPr>
          <p:spPr>
            <a:xfrm>
              <a:off x="3534267" y="5355975"/>
              <a:ext cx="1480051" cy="246221"/>
            </a:xfrm>
            <a:prstGeom prst="rect">
              <a:avLst/>
            </a:prstGeom>
            <a:noFill/>
          </p:spPr>
          <p:txBody>
            <a:bodyPr wrap="square" lIns="0" tIns="0" rIns="0" bIns="0" rtlCol="0" anchor="t">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Aptos" panose="020B0004020202020204" pitchFamily="34" charset="0"/>
                  <a:cs typeface="Segoe UI Semibold" panose="020B0702040204020203" pitchFamily="34" charset="0"/>
                </a:rPr>
                <a:t>Access Control</a:t>
              </a:r>
            </a:p>
          </p:txBody>
        </p:sp>
        <p:sp>
          <p:nvSpPr>
            <p:cNvPr id="15" name="TextBox 14">
              <a:extLst>
                <a:ext uri="{FF2B5EF4-FFF2-40B4-BE49-F238E27FC236}">
                  <a16:creationId xmlns:a16="http://schemas.microsoft.com/office/drawing/2014/main" id="{048B87E5-328F-63E8-1F28-D45F747FA16F}"/>
                </a:ext>
              </a:extLst>
            </p:cNvPr>
            <p:cNvSpPr txBox="1"/>
            <p:nvPr/>
          </p:nvSpPr>
          <p:spPr>
            <a:xfrm>
              <a:off x="1707503" y="5355975"/>
              <a:ext cx="1492766" cy="246221"/>
            </a:xfrm>
            <a:prstGeom prst="rect">
              <a:avLst/>
            </a:prstGeom>
            <a:noFill/>
          </p:spPr>
          <p:txBody>
            <a:bodyPr wrap="square" lIns="0" tIns="0" rIns="0" bIns="0" rtlCol="0" anchor="t">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Registry</a:t>
              </a:r>
              <a:endPar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Aptos" panose="020B0004020202020204" pitchFamily="34" charset="0"/>
                <a:cs typeface="Segoe UI Semibold" panose="020B0702040204020203" pitchFamily="34" charset="0"/>
              </a:endParaRPr>
            </a:p>
          </p:txBody>
        </p:sp>
        <p:sp>
          <p:nvSpPr>
            <p:cNvPr id="18" name="TextBox 17">
              <a:extLst>
                <a:ext uri="{FF2B5EF4-FFF2-40B4-BE49-F238E27FC236}">
                  <a16:creationId xmlns:a16="http://schemas.microsoft.com/office/drawing/2014/main" id="{F9006984-9C15-282B-28C1-39F319F79880}"/>
                </a:ext>
              </a:extLst>
            </p:cNvPr>
            <p:cNvSpPr txBox="1"/>
            <p:nvPr/>
          </p:nvSpPr>
          <p:spPr>
            <a:xfrm>
              <a:off x="8761018" y="5355975"/>
              <a:ext cx="1957444" cy="246221"/>
            </a:xfrm>
            <a:prstGeom prst="rect">
              <a:avLst/>
            </a:prstGeom>
            <a:noFill/>
          </p:spPr>
          <p:txBody>
            <a:bodyPr wrap="square" lIns="0" tIns="0" rIns="0" bIns="0" rtlCol="0" anchor="t">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Aptos" panose="020B0004020202020204" pitchFamily="34" charset="0"/>
                  <a:cs typeface="Segoe UI Semibold" panose="020B0702040204020203" pitchFamily="34" charset="0"/>
                </a:rPr>
                <a:t>Security</a:t>
              </a:r>
            </a:p>
          </p:txBody>
        </p:sp>
        <p:sp>
          <p:nvSpPr>
            <p:cNvPr id="21" name="TextBox 20">
              <a:extLst>
                <a:ext uri="{FF2B5EF4-FFF2-40B4-BE49-F238E27FC236}">
                  <a16:creationId xmlns:a16="http://schemas.microsoft.com/office/drawing/2014/main" id="{33FE5689-7C45-EFD4-E793-E6E19CF8A3ED}"/>
                </a:ext>
              </a:extLst>
            </p:cNvPr>
            <p:cNvSpPr txBox="1"/>
            <p:nvPr/>
          </p:nvSpPr>
          <p:spPr>
            <a:xfrm>
              <a:off x="5462988" y="5355975"/>
              <a:ext cx="1266024" cy="246221"/>
            </a:xfrm>
            <a:prstGeom prst="rect">
              <a:avLst/>
            </a:prstGeom>
            <a:noFill/>
          </p:spPr>
          <p:txBody>
            <a:bodyPr wrap="square" lIns="0" tIns="0" rIns="0" bIns="0" rtlCol="0" anchor="t">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Segoe UI Semibold" panose="020B0702040204020203" pitchFamily="34" charset="0"/>
                  <a:ea typeface="Aptos" panose="020B0004020202020204" pitchFamily="34" charset="0"/>
                  <a:cs typeface="Segoe UI Semibold" panose="020B0702040204020203" pitchFamily="34" charset="0"/>
                </a:rPr>
                <a:t>Visualization</a:t>
              </a:r>
            </a:p>
          </p:txBody>
        </p:sp>
      </p:grpSp>
      <p:sp>
        <p:nvSpPr>
          <p:cNvPr id="2" name="Rounded Rectangle 7">
            <a:extLst>
              <a:ext uri="{FF2B5EF4-FFF2-40B4-BE49-F238E27FC236}">
                <a16:creationId xmlns:a16="http://schemas.microsoft.com/office/drawing/2014/main" id="{D7B00F06-C84E-72D9-68C4-9E3CF6583EF7}"/>
              </a:ext>
            </a:extLst>
          </p:cNvPr>
          <p:cNvSpPr/>
          <p:nvPr/>
        </p:nvSpPr>
        <p:spPr>
          <a:xfrm>
            <a:off x="1287439" y="922211"/>
            <a:ext cx="9617122" cy="5173790"/>
          </a:xfrm>
          <a:prstGeom prst="roundRect">
            <a:avLst>
              <a:gd name="adj" fmla="val 4038"/>
            </a:avLst>
          </a:prstGeom>
          <a:noFill/>
          <a:ln w="15875">
            <a:gradFill>
              <a:gsLst>
                <a:gs pos="100000">
                  <a:schemeClr val="accent5"/>
                </a:gs>
                <a:gs pos="50000">
                  <a:schemeClr val="bg2"/>
                </a:gs>
                <a:gs pos="8000">
                  <a:schemeClr val="accent1"/>
                </a:gs>
              </a:gsLst>
              <a:lin ang="2700000" scaled="0"/>
            </a:gradFill>
          </a:ln>
          <a:effectLst>
            <a:innerShdw blurRad="1049316" dist="1035217" dir="7560000">
              <a:schemeClr val="bg1">
                <a:alpha val="50000"/>
              </a:scheme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361890" rtl="0" eaLnBrk="1" fontAlgn="auto" latinLnBrk="0" hangingPunct="1">
              <a:lnSpc>
                <a:spcPct val="100000"/>
              </a:lnSpc>
              <a:spcBef>
                <a:spcPts val="0"/>
              </a:spcBef>
              <a:spcAft>
                <a:spcPts val="0"/>
              </a:spcAft>
              <a:buClrTx/>
              <a:buSzTx/>
              <a:buFontTx/>
              <a:buNone/>
              <a:tabLst/>
              <a:defRPr/>
            </a:pPr>
            <a:endParaRPr kumimoji="0" lang="en-US" sz="1425"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Rounded Rectangle 3">
            <a:extLst>
              <a:ext uri="{FF2B5EF4-FFF2-40B4-BE49-F238E27FC236}">
                <a16:creationId xmlns:a16="http://schemas.microsoft.com/office/drawing/2014/main" id="{83371BBE-2017-77CF-3BC4-CE6B0590C74C}"/>
              </a:ext>
            </a:extLst>
          </p:cNvPr>
          <p:cNvSpPr/>
          <p:nvPr/>
        </p:nvSpPr>
        <p:spPr bwMode="auto">
          <a:xfrm>
            <a:off x="4767551" y="641305"/>
            <a:ext cx="2656898" cy="499989"/>
          </a:xfrm>
          <a:prstGeom prst="roundRect">
            <a:avLst>
              <a:gd name="adj" fmla="val 35235"/>
            </a:avLst>
          </a:prstGeom>
          <a:gradFill flip="none" rotWithShape="1">
            <a:gsLst>
              <a:gs pos="98000">
                <a:schemeClr val="accent5"/>
              </a:gs>
              <a:gs pos="56000">
                <a:srgbClr val="B9DAFF"/>
              </a:gs>
              <a:gs pos="0">
                <a:schemeClr val="accent3"/>
              </a:gs>
              <a:gs pos="24000">
                <a:schemeClr val="bg2"/>
              </a:gs>
            </a:gsLst>
            <a:path path="circle">
              <a:fillToRect r="100000" b="100000"/>
            </a:path>
            <a:tileRect l="-100000" t="-100000"/>
          </a:gradFill>
          <a:effectLst>
            <a:outerShdw blurRad="235855" sx="102000" sy="102000" algn="ctr" rotWithShape="0">
              <a:prstClr val="black">
                <a:alpha val="22000"/>
              </a:prstClr>
            </a:outerShdw>
          </a:effectLst>
        </p:spPr>
        <p:txBody>
          <a:bodyPr wrap="none" lIns="137160" tIns="36000" rIns="137160" bIns="54864" rtlCol="0" anchor="ctr" anchorCtr="0">
            <a:spAutoFit/>
          </a:bodyPr>
          <a:lstStyle>
            <a:defPPr>
              <a:defRPr lang="en-US"/>
            </a:defPPr>
            <a:lvl1pPr marL="0" algn="l" defTabSz="361890" rtl="0" eaLnBrk="1" latinLnBrk="0" hangingPunct="1">
              <a:defRPr sz="1425" kern="1200">
                <a:solidFill>
                  <a:schemeClr val="tx1"/>
                </a:solidFill>
                <a:latin typeface="+mn-lt"/>
                <a:ea typeface="+mn-ea"/>
                <a:cs typeface="+mn-cs"/>
              </a:defRPr>
            </a:lvl1pPr>
            <a:lvl2pPr marL="361890" algn="l" defTabSz="361890" rtl="0" eaLnBrk="1" latinLnBrk="0" hangingPunct="1">
              <a:defRPr sz="1425" kern="1200">
                <a:solidFill>
                  <a:schemeClr val="tx1"/>
                </a:solidFill>
                <a:latin typeface="+mn-lt"/>
                <a:ea typeface="+mn-ea"/>
                <a:cs typeface="+mn-cs"/>
              </a:defRPr>
            </a:lvl2pPr>
            <a:lvl3pPr marL="723780" algn="l" defTabSz="361890" rtl="0" eaLnBrk="1" latinLnBrk="0" hangingPunct="1">
              <a:defRPr sz="1425" kern="1200">
                <a:solidFill>
                  <a:schemeClr val="tx1"/>
                </a:solidFill>
                <a:latin typeface="+mn-lt"/>
                <a:ea typeface="+mn-ea"/>
                <a:cs typeface="+mn-cs"/>
              </a:defRPr>
            </a:lvl3pPr>
            <a:lvl4pPr marL="1085669" algn="l" defTabSz="361890" rtl="0" eaLnBrk="1" latinLnBrk="0" hangingPunct="1">
              <a:defRPr sz="1425" kern="1200">
                <a:solidFill>
                  <a:schemeClr val="tx1"/>
                </a:solidFill>
                <a:latin typeface="+mn-lt"/>
                <a:ea typeface="+mn-ea"/>
                <a:cs typeface="+mn-cs"/>
              </a:defRPr>
            </a:lvl4pPr>
            <a:lvl5pPr marL="1447558" algn="l" defTabSz="361890" rtl="0" eaLnBrk="1" latinLnBrk="0" hangingPunct="1">
              <a:defRPr sz="1425" kern="1200">
                <a:solidFill>
                  <a:schemeClr val="tx1"/>
                </a:solidFill>
                <a:latin typeface="+mn-lt"/>
                <a:ea typeface="+mn-ea"/>
                <a:cs typeface="+mn-cs"/>
              </a:defRPr>
            </a:lvl5pPr>
            <a:lvl6pPr marL="1809448" algn="l" defTabSz="361890" rtl="0" eaLnBrk="1" latinLnBrk="0" hangingPunct="1">
              <a:defRPr sz="1425" kern="1200">
                <a:solidFill>
                  <a:schemeClr val="tx1"/>
                </a:solidFill>
                <a:latin typeface="+mn-lt"/>
                <a:ea typeface="+mn-ea"/>
                <a:cs typeface="+mn-cs"/>
              </a:defRPr>
            </a:lvl6pPr>
            <a:lvl7pPr marL="2171338" algn="l" defTabSz="361890" rtl="0" eaLnBrk="1" latinLnBrk="0" hangingPunct="1">
              <a:defRPr sz="1425" kern="1200">
                <a:solidFill>
                  <a:schemeClr val="tx1"/>
                </a:solidFill>
                <a:latin typeface="+mn-lt"/>
                <a:ea typeface="+mn-ea"/>
                <a:cs typeface="+mn-cs"/>
              </a:defRPr>
            </a:lvl7pPr>
            <a:lvl8pPr marL="2533226" algn="l" defTabSz="361890" rtl="0" eaLnBrk="1" latinLnBrk="0" hangingPunct="1">
              <a:defRPr sz="1425" kern="1200">
                <a:solidFill>
                  <a:schemeClr val="tx1"/>
                </a:solidFill>
                <a:latin typeface="+mn-lt"/>
                <a:ea typeface="+mn-ea"/>
                <a:cs typeface="+mn-cs"/>
              </a:defRPr>
            </a:lvl8pPr>
            <a:lvl9pPr marL="2895117" algn="l" defTabSz="361890" rtl="0" eaLnBrk="1" latinLnBrk="0" hangingPunct="1">
              <a:defRPr sz="1425" kern="1200">
                <a:solidFill>
                  <a:schemeClr val="tx1"/>
                </a:solidFill>
                <a:latin typeface="+mn-lt"/>
                <a:ea typeface="+mn-ea"/>
                <a:cs typeface="+mn-cs"/>
              </a:defRPr>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2000" b="0" i="0" u="none" strike="noStrike" kern="1200" cap="none" spc="-50" normalizeH="0" baseline="0" noProof="0">
                <a:ln w="3175">
                  <a:noFill/>
                </a:ln>
                <a:solidFill>
                  <a:srgbClr val="1B44B1"/>
                </a:solidFill>
                <a:effectLst/>
                <a:uLnTx/>
                <a:uFillTx/>
                <a:latin typeface="Segoe Sans Display Semibold"/>
                <a:ea typeface="+mn-ea"/>
                <a:cs typeface="Segoe Sans Display" pitchFamily="2" charset="0"/>
              </a:rPr>
              <a:t>Microsoft Agent 365</a:t>
            </a:r>
          </a:p>
        </p:txBody>
      </p:sp>
      <p:sp>
        <p:nvSpPr>
          <p:cNvPr id="33" name="!!overlay">
            <a:extLst>
              <a:ext uri="{FF2B5EF4-FFF2-40B4-BE49-F238E27FC236}">
                <a16:creationId xmlns:a16="http://schemas.microsoft.com/office/drawing/2014/main" id="{50DD3768-C1A1-6AA5-CFA7-2D9C279488AD}"/>
              </a:ext>
            </a:extLst>
          </p:cNvPr>
          <p:cNvSpPr/>
          <p:nvPr/>
        </p:nvSpPr>
        <p:spPr bwMode="auto">
          <a:xfrm>
            <a:off x="5505365" y="3096768"/>
            <a:ext cx="1181270" cy="664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marL="0" marR="0" lvl="0" indent="0" algn="l" defTabSz="466236"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B796FA53-4285-15E5-B00B-F23CEC564099}"/>
              </a:ext>
            </a:extLst>
          </p:cNvPr>
          <p:cNvSpPr txBox="1"/>
          <p:nvPr/>
        </p:nvSpPr>
        <p:spPr>
          <a:xfrm>
            <a:off x="3704567" y="1341774"/>
            <a:ext cx="4782867" cy="340991"/>
          </a:xfrm>
          <a:prstGeom prst="rect">
            <a:avLst/>
          </a:prstGeom>
          <a:noFill/>
        </p:spPr>
        <p:txBody>
          <a:bodyPr wrap="square" lIns="0" tIns="0" rIns="0" bIns="0" rtlCol="0" anchor="t">
            <a:spAutoFit/>
          </a:bodyPr>
          <a:lstStyle/>
          <a:p>
            <a:pPr marL="0" marR="0" lvl="0" indent="0" algn="ctr" defTabSz="750265" rtl="0" eaLnBrk="1" fontAlgn="auto" latinLnBrk="0" hangingPunct="1">
              <a:lnSpc>
                <a:spcPct val="100000"/>
              </a:lnSpc>
              <a:spcBef>
                <a:spcPts val="0"/>
              </a:spcBef>
              <a:spcAft>
                <a:spcPts val="0"/>
              </a:spcAft>
              <a:buClrTx/>
              <a:buSzTx/>
              <a:buFontTx/>
              <a:buNone/>
              <a:tabLst/>
              <a:defRPr/>
            </a:pPr>
            <a:r>
              <a:rPr kumimoji="0" lang="en-US" sz="2216" b="1" i="0" u="none" strike="noStrike" kern="1200" cap="none" spc="0" normalizeH="0" baseline="0" noProof="0">
                <a:ln>
                  <a:noFill/>
                </a:ln>
                <a:solidFill>
                  <a:srgbClr val="000000"/>
                </a:solidFill>
                <a:effectLst/>
                <a:uLnTx/>
                <a:uFillTx/>
                <a:latin typeface="Segoe UI Variable Display Semibold" pitchFamily="2" charset="0"/>
                <a:ea typeface="+mn-ea"/>
                <a:cs typeface="Segoe UI Semibold" panose="020B0702040204020203" pitchFamily="34" charset="0"/>
              </a:rPr>
              <a:t>The control plane for agents</a:t>
            </a:r>
          </a:p>
        </p:txBody>
      </p:sp>
      <p:grpSp>
        <p:nvGrpSpPr>
          <p:cNvPr id="32" name="Group 31">
            <a:extLst>
              <a:ext uri="{FF2B5EF4-FFF2-40B4-BE49-F238E27FC236}">
                <a16:creationId xmlns:a16="http://schemas.microsoft.com/office/drawing/2014/main" id="{46D67164-6DEB-420B-358A-DB37BC8CCD1C}"/>
              </a:ext>
            </a:extLst>
          </p:cNvPr>
          <p:cNvGrpSpPr/>
          <p:nvPr/>
        </p:nvGrpSpPr>
        <p:grpSpPr>
          <a:xfrm>
            <a:off x="2178092" y="4656414"/>
            <a:ext cx="7837442" cy="551588"/>
            <a:chOff x="2178092" y="4579140"/>
            <a:chExt cx="7837442" cy="551588"/>
          </a:xfrm>
        </p:grpSpPr>
        <p:grpSp>
          <p:nvGrpSpPr>
            <p:cNvPr id="19" name="Group 18">
              <a:extLst>
                <a:ext uri="{FF2B5EF4-FFF2-40B4-BE49-F238E27FC236}">
                  <a16:creationId xmlns:a16="http://schemas.microsoft.com/office/drawing/2014/main" id="{5F44EBE0-1ADD-8AE1-2CB0-00CBF80054AB}"/>
                </a:ext>
              </a:extLst>
            </p:cNvPr>
            <p:cNvGrpSpPr/>
            <p:nvPr/>
          </p:nvGrpSpPr>
          <p:grpSpPr>
            <a:xfrm>
              <a:off x="2178092" y="4579140"/>
              <a:ext cx="7837442" cy="551588"/>
              <a:chOff x="2178092" y="4624150"/>
              <a:chExt cx="7837442" cy="551588"/>
            </a:xfrm>
            <a:gradFill>
              <a:gsLst>
                <a:gs pos="98000">
                  <a:schemeClr val="accent5"/>
                </a:gs>
                <a:gs pos="56000">
                  <a:srgbClr val="B9DAFF"/>
                </a:gs>
                <a:gs pos="0">
                  <a:schemeClr val="accent3"/>
                </a:gs>
                <a:gs pos="24000">
                  <a:schemeClr val="bg2"/>
                </a:gs>
              </a:gsLst>
              <a:path path="circle">
                <a:fillToRect r="100000" b="100000"/>
              </a:path>
            </a:gradFill>
          </p:grpSpPr>
          <p:sp>
            <p:nvSpPr>
              <p:cNvPr id="145" name="Oval 144">
                <a:extLst>
                  <a:ext uri="{FF2B5EF4-FFF2-40B4-BE49-F238E27FC236}">
                    <a16:creationId xmlns:a16="http://schemas.microsoft.com/office/drawing/2014/main" id="{E3E826E6-D749-0C0D-2A13-71085FFBFBE2}"/>
                  </a:ext>
                </a:extLst>
              </p:cNvPr>
              <p:cNvSpPr/>
              <p:nvPr/>
            </p:nvSpPr>
            <p:spPr bwMode="auto">
              <a:xfrm>
                <a:off x="5820206" y="4624150"/>
                <a:ext cx="551588" cy="5515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4" name="Oval 143">
                <a:extLst>
                  <a:ext uri="{FF2B5EF4-FFF2-40B4-BE49-F238E27FC236}">
                    <a16:creationId xmlns:a16="http://schemas.microsoft.com/office/drawing/2014/main" id="{336117D3-BAFC-3387-064B-17BF70C4EC87}"/>
                  </a:ext>
                </a:extLst>
              </p:cNvPr>
              <p:cNvSpPr/>
              <p:nvPr/>
            </p:nvSpPr>
            <p:spPr bwMode="auto">
              <a:xfrm>
                <a:off x="3998498" y="4624150"/>
                <a:ext cx="551588" cy="5515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7" name="Oval 146">
                <a:extLst>
                  <a:ext uri="{FF2B5EF4-FFF2-40B4-BE49-F238E27FC236}">
                    <a16:creationId xmlns:a16="http://schemas.microsoft.com/office/drawing/2014/main" id="{63E5BECC-2E45-D882-937A-5BEE5EB2AA78}"/>
                  </a:ext>
                </a:extLst>
              </p:cNvPr>
              <p:cNvSpPr/>
              <p:nvPr/>
            </p:nvSpPr>
            <p:spPr bwMode="auto">
              <a:xfrm>
                <a:off x="9463946" y="4624150"/>
                <a:ext cx="551588" cy="5515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3" name="Oval 142">
                <a:extLst>
                  <a:ext uri="{FF2B5EF4-FFF2-40B4-BE49-F238E27FC236}">
                    <a16:creationId xmlns:a16="http://schemas.microsoft.com/office/drawing/2014/main" id="{6263327F-4075-F6D6-D2B5-C14C726C723E}"/>
                  </a:ext>
                </a:extLst>
              </p:cNvPr>
              <p:cNvSpPr/>
              <p:nvPr/>
            </p:nvSpPr>
            <p:spPr bwMode="auto">
              <a:xfrm>
                <a:off x="2178092" y="4624150"/>
                <a:ext cx="551588" cy="5515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46" name="Oval 145">
                <a:extLst>
                  <a:ext uri="{FF2B5EF4-FFF2-40B4-BE49-F238E27FC236}">
                    <a16:creationId xmlns:a16="http://schemas.microsoft.com/office/drawing/2014/main" id="{8754D91C-1015-2417-4B4E-C0BEB4973835}"/>
                  </a:ext>
                </a:extLst>
              </p:cNvPr>
              <p:cNvSpPr/>
              <p:nvPr/>
            </p:nvSpPr>
            <p:spPr bwMode="auto">
              <a:xfrm>
                <a:off x="7638652" y="4624150"/>
                <a:ext cx="551588" cy="5515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grpSp>
        <p:sp>
          <p:nvSpPr>
            <p:cNvPr id="12" name="Graphic 119">
              <a:extLst>
                <a:ext uri="{FF2B5EF4-FFF2-40B4-BE49-F238E27FC236}">
                  <a16:creationId xmlns:a16="http://schemas.microsoft.com/office/drawing/2014/main" id="{DA877C55-5D01-4CD4-6D67-D22482B43D85}"/>
                </a:ext>
              </a:extLst>
            </p:cNvPr>
            <p:cNvSpPr/>
            <p:nvPr/>
          </p:nvSpPr>
          <p:spPr>
            <a:xfrm>
              <a:off x="2297406" y="4687473"/>
              <a:ext cx="305170" cy="305168"/>
            </a:xfrm>
            <a:custGeom>
              <a:avLst/>
              <a:gdLst>
                <a:gd name="csX0" fmla="*/ 802316 w 979097"/>
                <a:gd name="csY0" fmla="*/ 0 h 979097"/>
                <a:gd name="csX1" fmla="*/ 979097 w 979097"/>
                <a:gd name="csY1" fmla="*/ 176781 h 979097"/>
                <a:gd name="csX2" fmla="*/ 979097 w 979097"/>
                <a:gd name="csY2" fmla="*/ 802316 h 979097"/>
                <a:gd name="csX3" fmla="*/ 802316 w 979097"/>
                <a:gd name="csY3" fmla="*/ 979097 h 979097"/>
                <a:gd name="csX4" fmla="*/ 176781 w 979097"/>
                <a:gd name="csY4" fmla="*/ 979097 h 979097"/>
                <a:gd name="csX5" fmla="*/ 0 w 979097"/>
                <a:gd name="csY5" fmla="*/ 802316 h 979097"/>
                <a:gd name="csX6" fmla="*/ 0 w 979097"/>
                <a:gd name="csY6" fmla="*/ 176781 h 979097"/>
                <a:gd name="csX7" fmla="*/ 176781 w 979097"/>
                <a:gd name="csY7" fmla="*/ 0 h 979097"/>
                <a:gd name="csX8" fmla="*/ 802316 w 979097"/>
                <a:gd name="csY8" fmla="*/ 0 h 979097"/>
                <a:gd name="csX9" fmla="*/ 802316 w 979097"/>
                <a:gd name="csY9" fmla="*/ 81591 h 979097"/>
                <a:gd name="csX10" fmla="*/ 176781 w 979097"/>
                <a:gd name="csY10" fmla="*/ 81591 h 979097"/>
                <a:gd name="csX11" fmla="*/ 81591 w 979097"/>
                <a:gd name="csY11" fmla="*/ 176781 h 979097"/>
                <a:gd name="csX12" fmla="*/ 81591 w 979097"/>
                <a:gd name="csY12" fmla="*/ 802316 h 979097"/>
                <a:gd name="csX13" fmla="*/ 176781 w 979097"/>
                <a:gd name="csY13" fmla="*/ 897506 h 979097"/>
                <a:gd name="csX14" fmla="*/ 802316 w 979097"/>
                <a:gd name="csY14" fmla="*/ 897506 h 979097"/>
                <a:gd name="csX15" fmla="*/ 897506 w 979097"/>
                <a:gd name="csY15" fmla="*/ 802316 h 979097"/>
                <a:gd name="csX16" fmla="*/ 897506 w 979097"/>
                <a:gd name="csY16" fmla="*/ 176781 h 979097"/>
                <a:gd name="csX17" fmla="*/ 802316 w 979097"/>
                <a:gd name="csY17" fmla="*/ 81591 h 979097"/>
                <a:gd name="csX18" fmla="*/ 258373 w 979097"/>
                <a:gd name="csY18" fmla="*/ 217577 h 979097"/>
                <a:gd name="csX19" fmla="*/ 298796 w 979097"/>
                <a:gd name="csY19" fmla="*/ 252837 h 979097"/>
                <a:gd name="csX20" fmla="*/ 299169 w 979097"/>
                <a:gd name="csY20" fmla="*/ 258373 h 979097"/>
                <a:gd name="csX21" fmla="*/ 299169 w 979097"/>
                <a:gd name="csY21" fmla="*/ 312767 h 979097"/>
                <a:gd name="csX22" fmla="*/ 258373 w 979097"/>
                <a:gd name="csY22" fmla="*/ 353563 h 979097"/>
                <a:gd name="csX23" fmla="*/ 217950 w 979097"/>
                <a:gd name="csY23" fmla="*/ 318303 h 979097"/>
                <a:gd name="csX24" fmla="*/ 217577 w 979097"/>
                <a:gd name="csY24" fmla="*/ 312767 h 979097"/>
                <a:gd name="csX25" fmla="*/ 217577 w 979097"/>
                <a:gd name="csY25" fmla="*/ 258373 h 979097"/>
                <a:gd name="csX26" fmla="*/ 258373 w 979097"/>
                <a:gd name="csY26" fmla="*/ 217577 h 979097"/>
                <a:gd name="csX27" fmla="*/ 298796 w 979097"/>
                <a:gd name="csY27" fmla="*/ 660793 h 979097"/>
                <a:gd name="csX28" fmla="*/ 258373 w 979097"/>
                <a:gd name="csY28" fmla="*/ 625534 h 979097"/>
                <a:gd name="csX29" fmla="*/ 217577 w 979097"/>
                <a:gd name="csY29" fmla="*/ 666330 h 979097"/>
                <a:gd name="csX30" fmla="*/ 217577 w 979097"/>
                <a:gd name="csY30" fmla="*/ 720724 h 979097"/>
                <a:gd name="csX31" fmla="*/ 217950 w 979097"/>
                <a:gd name="csY31" fmla="*/ 726262 h 979097"/>
                <a:gd name="csX32" fmla="*/ 258373 w 979097"/>
                <a:gd name="csY32" fmla="*/ 761520 h 979097"/>
                <a:gd name="csX33" fmla="*/ 299169 w 979097"/>
                <a:gd name="csY33" fmla="*/ 720724 h 979097"/>
                <a:gd name="csX34" fmla="*/ 299169 w 979097"/>
                <a:gd name="csY34" fmla="*/ 666330 h 979097"/>
                <a:gd name="csX35" fmla="*/ 298796 w 979097"/>
                <a:gd name="csY35" fmla="*/ 660793 h 979097"/>
                <a:gd name="csX36" fmla="*/ 299169 w 979097"/>
                <a:gd name="csY36" fmla="*/ 452626 h 979097"/>
                <a:gd name="csX37" fmla="*/ 258745 w 979097"/>
                <a:gd name="csY37" fmla="*/ 417362 h 979097"/>
                <a:gd name="csX38" fmla="*/ 217950 w 979097"/>
                <a:gd name="csY38" fmla="*/ 458158 h 979097"/>
                <a:gd name="csX39" fmla="*/ 217577 w 979097"/>
                <a:gd name="csY39" fmla="*/ 520619 h 979097"/>
                <a:gd name="csX40" fmla="*/ 217950 w 979097"/>
                <a:gd name="csY40" fmla="*/ 526151 h 979097"/>
                <a:gd name="csX41" fmla="*/ 258373 w 979097"/>
                <a:gd name="csY41" fmla="*/ 561414 h 979097"/>
                <a:gd name="csX42" fmla="*/ 299169 w 979097"/>
                <a:gd name="csY42" fmla="*/ 520619 h 979097"/>
                <a:gd name="csX43" fmla="*/ 299541 w 979097"/>
                <a:gd name="csY43" fmla="*/ 458158 h 979097"/>
                <a:gd name="csX44" fmla="*/ 299169 w 979097"/>
                <a:gd name="csY44" fmla="*/ 452626 h 979097"/>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Lst>
              <a:rect l="l" t="t" r="r" b="b"/>
              <a:pathLst>
                <a:path w="979097" h="979097">
                  <a:moveTo>
                    <a:pt x="802316" y="0"/>
                  </a:moveTo>
                  <a:cubicBezTo>
                    <a:pt x="899948" y="0"/>
                    <a:pt x="979097" y="79148"/>
                    <a:pt x="979097" y="176781"/>
                  </a:cubicBezTo>
                  <a:lnTo>
                    <a:pt x="979097" y="802316"/>
                  </a:lnTo>
                  <a:cubicBezTo>
                    <a:pt x="979097" y="899948"/>
                    <a:pt x="899948" y="979097"/>
                    <a:pt x="802316" y="979097"/>
                  </a:cubicBezTo>
                  <a:lnTo>
                    <a:pt x="176781" y="979097"/>
                  </a:lnTo>
                  <a:cubicBezTo>
                    <a:pt x="79148" y="979097"/>
                    <a:pt x="0" y="899948"/>
                    <a:pt x="0" y="802316"/>
                  </a:cubicBezTo>
                  <a:lnTo>
                    <a:pt x="0" y="176781"/>
                  </a:lnTo>
                  <a:cubicBezTo>
                    <a:pt x="0" y="79148"/>
                    <a:pt x="79148" y="0"/>
                    <a:pt x="176781" y="0"/>
                  </a:cubicBezTo>
                  <a:lnTo>
                    <a:pt x="802316" y="0"/>
                  </a:lnTo>
                  <a:close/>
                  <a:moveTo>
                    <a:pt x="802316" y="81591"/>
                  </a:moveTo>
                  <a:lnTo>
                    <a:pt x="176781" y="81591"/>
                  </a:lnTo>
                  <a:cubicBezTo>
                    <a:pt x="124209" y="81591"/>
                    <a:pt x="81591" y="124209"/>
                    <a:pt x="81591" y="176781"/>
                  </a:cubicBezTo>
                  <a:lnTo>
                    <a:pt x="81591" y="802316"/>
                  </a:lnTo>
                  <a:cubicBezTo>
                    <a:pt x="81591" y="854888"/>
                    <a:pt x="124209" y="897506"/>
                    <a:pt x="176781" y="897506"/>
                  </a:cubicBezTo>
                  <a:lnTo>
                    <a:pt x="802316" y="897506"/>
                  </a:lnTo>
                  <a:cubicBezTo>
                    <a:pt x="854888" y="897506"/>
                    <a:pt x="897506" y="854888"/>
                    <a:pt x="897506" y="802316"/>
                  </a:cubicBezTo>
                  <a:lnTo>
                    <a:pt x="897506" y="176781"/>
                  </a:lnTo>
                  <a:cubicBezTo>
                    <a:pt x="897506" y="124209"/>
                    <a:pt x="854888" y="81591"/>
                    <a:pt x="802316" y="81591"/>
                  </a:cubicBezTo>
                  <a:close/>
                  <a:moveTo>
                    <a:pt x="258373" y="217577"/>
                  </a:moveTo>
                  <a:cubicBezTo>
                    <a:pt x="279026" y="217577"/>
                    <a:pt x="296095" y="232925"/>
                    <a:pt x="298796" y="252837"/>
                  </a:cubicBezTo>
                  <a:lnTo>
                    <a:pt x="299169" y="258373"/>
                  </a:lnTo>
                  <a:lnTo>
                    <a:pt x="299169" y="312767"/>
                  </a:lnTo>
                  <a:cubicBezTo>
                    <a:pt x="299169" y="335298"/>
                    <a:pt x="280904" y="353563"/>
                    <a:pt x="258373" y="353563"/>
                  </a:cubicBezTo>
                  <a:cubicBezTo>
                    <a:pt x="237719" y="353563"/>
                    <a:pt x="220651" y="338216"/>
                    <a:pt x="217950" y="318303"/>
                  </a:cubicBezTo>
                  <a:lnTo>
                    <a:pt x="217577" y="312767"/>
                  </a:lnTo>
                  <a:lnTo>
                    <a:pt x="217577" y="258373"/>
                  </a:lnTo>
                  <a:cubicBezTo>
                    <a:pt x="217577" y="235842"/>
                    <a:pt x="235842" y="217577"/>
                    <a:pt x="258373" y="217577"/>
                  </a:cubicBezTo>
                  <a:close/>
                  <a:moveTo>
                    <a:pt x="298796" y="660793"/>
                  </a:moveTo>
                  <a:cubicBezTo>
                    <a:pt x="296095" y="640884"/>
                    <a:pt x="279026" y="625534"/>
                    <a:pt x="258373" y="625534"/>
                  </a:cubicBezTo>
                  <a:cubicBezTo>
                    <a:pt x="235842" y="625534"/>
                    <a:pt x="217577" y="643800"/>
                    <a:pt x="217577" y="666330"/>
                  </a:cubicBezTo>
                  <a:lnTo>
                    <a:pt x="217577" y="720724"/>
                  </a:lnTo>
                  <a:lnTo>
                    <a:pt x="217950" y="726262"/>
                  </a:lnTo>
                  <a:cubicBezTo>
                    <a:pt x="220651" y="746170"/>
                    <a:pt x="237719" y="761520"/>
                    <a:pt x="258373" y="761520"/>
                  </a:cubicBezTo>
                  <a:cubicBezTo>
                    <a:pt x="280904" y="761520"/>
                    <a:pt x="299169" y="743255"/>
                    <a:pt x="299169" y="720724"/>
                  </a:cubicBezTo>
                  <a:lnTo>
                    <a:pt x="299169" y="666330"/>
                  </a:lnTo>
                  <a:lnTo>
                    <a:pt x="298796" y="660793"/>
                  </a:lnTo>
                  <a:close/>
                  <a:moveTo>
                    <a:pt x="299169" y="452626"/>
                  </a:moveTo>
                  <a:cubicBezTo>
                    <a:pt x="296467" y="432712"/>
                    <a:pt x="279398" y="417362"/>
                    <a:pt x="258745" y="417362"/>
                  </a:cubicBezTo>
                  <a:cubicBezTo>
                    <a:pt x="236214" y="417362"/>
                    <a:pt x="217950" y="435628"/>
                    <a:pt x="217950" y="458158"/>
                  </a:cubicBezTo>
                  <a:lnTo>
                    <a:pt x="217577" y="520619"/>
                  </a:lnTo>
                  <a:lnTo>
                    <a:pt x="217950" y="526151"/>
                  </a:lnTo>
                  <a:cubicBezTo>
                    <a:pt x="220651" y="546064"/>
                    <a:pt x="237719" y="561414"/>
                    <a:pt x="258373" y="561414"/>
                  </a:cubicBezTo>
                  <a:cubicBezTo>
                    <a:pt x="280904" y="561414"/>
                    <a:pt x="299169" y="543149"/>
                    <a:pt x="299169" y="520619"/>
                  </a:cubicBezTo>
                  <a:lnTo>
                    <a:pt x="299541" y="458158"/>
                  </a:lnTo>
                  <a:lnTo>
                    <a:pt x="299169" y="452626"/>
                  </a:lnTo>
                  <a:close/>
                </a:path>
              </a:pathLst>
            </a:custGeom>
            <a:solidFill>
              <a:schemeClr val="bg1"/>
            </a:solidFill>
            <a:ln w="54372" cap="flat">
              <a:noFill/>
              <a:prstDash val="solid"/>
              <a:miter/>
            </a:ln>
          </p:spPr>
          <p:txBody>
            <a:bodyPr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5" b="0" i="0" u="none" strike="noStrike" kern="1200" cap="none" spc="0" normalizeH="0" baseline="0" noProof="0">
                <a:ln>
                  <a:noFill/>
                </a:ln>
                <a:solidFill>
                  <a:srgbClr val="1B44B1"/>
                </a:solidFill>
                <a:effectLst/>
                <a:uLnTx/>
                <a:uFillTx/>
                <a:latin typeface="Segoe Sans Display"/>
                <a:ea typeface="+mn-ea"/>
                <a:cs typeface="+mn-cs"/>
              </a:endParaRPr>
            </a:p>
          </p:txBody>
        </p:sp>
        <p:sp>
          <p:nvSpPr>
            <p:cNvPr id="13" name="Graphic 16">
              <a:extLst>
                <a:ext uri="{FF2B5EF4-FFF2-40B4-BE49-F238E27FC236}">
                  <a16:creationId xmlns:a16="http://schemas.microsoft.com/office/drawing/2014/main" id="{05822ED4-C1A5-D503-201C-E65EF9C5B8C8}"/>
                </a:ext>
              </a:extLst>
            </p:cNvPr>
            <p:cNvSpPr/>
            <p:nvPr/>
          </p:nvSpPr>
          <p:spPr>
            <a:xfrm>
              <a:off x="7754618" y="4711718"/>
              <a:ext cx="294846" cy="294844"/>
            </a:xfrm>
            <a:custGeom>
              <a:avLst/>
              <a:gdLst>
                <a:gd name="csX0" fmla="*/ 179785 w 1118663"/>
                <a:gd name="csY0" fmla="*/ 79905 h 1118663"/>
                <a:gd name="csX1" fmla="*/ 79905 w 1118663"/>
                <a:gd name="csY1" fmla="*/ 179785 h 1118663"/>
                <a:gd name="csX2" fmla="*/ 179785 w 1118663"/>
                <a:gd name="csY2" fmla="*/ 279666 h 1118663"/>
                <a:gd name="csX3" fmla="*/ 279666 w 1118663"/>
                <a:gd name="csY3" fmla="*/ 179785 h 1118663"/>
                <a:gd name="csX4" fmla="*/ 179785 w 1118663"/>
                <a:gd name="csY4" fmla="*/ 79905 h 1118663"/>
                <a:gd name="csX5" fmla="*/ 0 w 1118663"/>
                <a:gd name="csY5" fmla="*/ 179785 h 1118663"/>
                <a:gd name="csX6" fmla="*/ 179785 w 1118663"/>
                <a:gd name="csY6" fmla="*/ 0 h 1118663"/>
                <a:gd name="csX7" fmla="*/ 359571 w 1118663"/>
                <a:gd name="csY7" fmla="*/ 179785 h 1118663"/>
                <a:gd name="csX8" fmla="*/ 332003 w 1118663"/>
                <a:gd name="csY8" fmla="*/ 275501 h 1118663"/>
                <a:gd name="csX9" fmla="*/ 463618 w 1118663"/>
                <a:gd name="csY9" fmla="*/ 407114 h 1118663"/>
                <a:gd name="csX10" fmla="*/ 559332 w 1118663"/>
                <a:gd name="csY10" fmla="*/ 379547 h 1118663"/>
                <a:gd name="csX11" fmla="*/ 655046 w 1118663"/>
                <a:gd name="csY11" fmla="*/ 407114 h 1118663"/>
                <a:gd name="csX12" fmla="*/ 786660 w 1118663"/>
                <a:gd name="csY12" fmla="*/ 275501 h 1118663"/>
                <a:gd name="csX13" fmla="*/ 759093 w 1118663"/>
                <a:gd name="csY13" fmla="*/ 179785 h 1118663"/>
                <a:gd name="csX14" fmla="*/ 938879 w 1118663"/>
                <a:gd name="csY14" fmla="*/ 0 h 1118663"/>
                <a:gd name="csX15" fmla="*/ 1118664 w 1118663"/>
                <a:gd name="csY15" fmla="*/ 179785 h 1118663"/>
                <a:gd name="csX16" fmla="*/ 938879 w 1118663"/>
                <a:gd name="csY16" fmla="*/ 359571 h 1118663"/>
                <a:gd name="csX17" fmla="*/ 843165 w 1118663"/>
                <a:gd name="csY17" fmla="*/ 332003 h 1118663"/>
                <a:gd name="csX18" fmla="*/ 711550 w 1118663"/>
                <a:gd name="csY18" fmla="*/ 463618 h 1118663"/>
                <a:gd name="csX19" fmla="*/ 739117 w 1118663"/>
                <a:gd name="csY19" fmla="*/ 559332 h 1118663"/>
                <a:gd name="csX20" fmla="*/ 711550 w 1118663"/>
                <a:gd name="csY20" fmla="*/ 655046 h 1118663"/>
                <a:gd name="csX21" fmla="*/ 843165 w 1118663"/>
                <a:gd name="csY21" fmla="*/ 786660 h 1118663"/>
                <a:gd name="csX22" fmla="*/ 938879 w 1118663"/>
                <a:gd name="csY22" fmla="*/ 759093 h 1118663"/>
                <a:gd name="csX23" fmla="*/ 1118664 w 1118663"/>
                <a:gd name="csY23" fmla="*/ 938879 h 1118663"/>
                <a:gd name="csX24" fmla="*/ 938879 w 1118663"/>
                <a:gd name="csY24" fmla="*/ 1118664 h 1118663"/>
                <a:gd name="csX25" fmla="*/ 759093 w 1118663"/>
                <a:gd name="csY25" fmla="*/ 938879 h 1118663"/>
                <a:gd name="csX26" fmla="*/ 786660 w 1118663"/>
                <a:gd name="csY26" fmla="*/ 843165 h 1118663"/>
                <a:gd name="csX27" fmla="*/ 655046 w 1118663"/>
                <a:gd name="csY27" fmla="*/ 711550 h 1118663"/>
                <a:gd name="csX28" fmla="*/ 559332 w 1118663"/>
                <a:gd name="csY28" fmla="*/ 739117 h 1118663"/>
                <a:gd name="csX29" fmla="*/ 463618 w 1118663"/>
                <a:gd name="csY29" fmla="*/ 711550 h 1118663"/>
                <a:gd name="csX30" fmla="*/ 332003 w 1118663"/>
                <a:gd name="csY30" fmla="*/ 843165 h 1118663"/>
                <a:gd name="csX31" fmla="*/ 359571 w 1118663"/>
                <a:gd name="csY31" fmla="*/ 938879 h 1118663"/>
                <a:gd name="csX32" fmla="*/ 179785 w 1118663"/>
                <a:gd name="csY32" fmla="*/ 1118664 h 1118663"/>
                <a:gd name="csX33" fmla="*/ 0 w 1118663"/>
                <a:gd name="csY33" fmla="*/ 938879 h 1118663"/>
                <a:gd name="csX34" fmla="*/ 179785 w 1118663"/>
                <a:gd name="csY34" fmla="*/ 759093 h 1118663"/>
                <a:gd name="csX35" fmla="*/ 275501 w 1118663"/>
                <a:gd name="csY35" fmla="*/ 786660 h 1118663"/>
                <a:gd name="csX36" fmla="*/ 407114 w 1118663"/>
                <a:gd name="csY36" fmla="*/ 655046 h 1118663"/>
                <a:gd name="csX37" fmla="*/ 379547 w 1118663"/>
                <a:gd name="csY37" fmla="*/ 559332 h 1118663"/>
                <a:gd name="csX38" fmla="*/ 407114 w 1118663"/>
                <a:gd name="csY38" fmla="*/ 463618 h 1118663"/>
                <a:gd name="csX39" fmla="*/ 275501 w 1118663"/>
                <a:gd name="csY39" fmla="*/ 332003 h 1118663"/>
                <a:gd name="csX40" fmla="*/ 179785 w 1118663"/>
                <a:gd name="csY40" fmla="*/ 359571 h 1118663"/>
                <a:gd name="csX41" fmla="*/ 0 w 1118663"/>
                <a:gd name="csY41" fmla="*/ 179785 h 1118663"/>
                <a:gd name="csX42" fmla="*/ 938879 w 1118663"/>
                <a:gd name="csY42" fmla="*/ 79905 h 1118663"/>
                <a:gd name="csX43" fmla="*/ 838998 w 1118663"/>
                <a:gd name="csY43" fmla="*/ 179785 h 1118663"/>
                <a:gd name="csX44" fmla="*/ 938879 w 1118663"/>
                <a:gd name="csY44" fmla="*/ 279666 h 1118663"/>
                <a:gd name="csX45" fmla="*/ 1038759 w 1118663"/>
                <a:gd name="csY45" fmla="*/ 179785 h 1118663"/>
                <a:gd name="csX46" fmla="*/ 938879 w 1118663"/>
                <a:gd name="csY46" fmla="*/ 79905 h 1118663"/>
                <a:gd name="csX47" fmla="*/ 79905 w 1118663"/>
                <a:gd name="csY47" fmla="*/ 938879 h 1118663"/>
                <a:gd name="csX48" fmla="*/ 179785 w 1118663"/>
                <a:gd name="csY48" fmla="*/ 1038759 h 1118663"/>
                <a:gd name="csX49" fmla="*/ 279666 w 1118663"/>
                <a:gd name="csY49" fmla="*/ 938879 h 1118663"/>
                <a:gd name="csX50" fmla="*/ 179785 w 1118663"/>
                <a:gd name="csY50" fmla="*/ 838998 h 1118663"/>
                <a:gd name="csX51" fmla="*/ 79905 w 1118663"/>
                <a:gd name="csY51" fmla="*/ 938879 h 1118663"/>
                <a:gd name="csX52" fmla="*/ 559332 w 1118663"/>
                <a:gd name="csY52" fmla="*/ 459451 h 1118663"/>
                <a:gd name="csX53" fmla="*/ 459451 w 1118663"/>
                <a:gd name="csY53" fmla="*/ 559332 h 1118663"/>
                <a:gd name="csX54" fmla="*/ 559332 w 1118663"/>
                <a:gd name="csY54" fmla="*/ 659213 h 1118663"/>
                <a:gd name="csX55" fmla="*/ 659213 w 1118663"/>
                <a:gd name="csY55" fmla="*/ 559332 h 1118663"/>
                <a:gd name="csX56" fmla="*/ 559332 w 1118663"/>
                <a:gd name="csY56" fmla="*/ 459451 h 1118663"/>
                <a:gd name="csX57" fmla="*/ 838998 w 1118663"/>
                <a:gd name="csY57" fmla="*/ 938879 h 1118663"/>
                <a:gd name="csX58" fmla="*/ 938879 w 1118663"/>
                <a:gd name="csY58" fmla="*/ 1038759 h 1118663"/>
                <a:gd name="csX59" fmla="*/ 1038759 w 1118663"/>
                <a:gd name="csY59" fmla="*/ 938879 h 1118663"/>
                <a:gd name="csX60" fmla="*/ 938879 w 1118663"/>
                <a:gd name="csY60" fmla="*/ 838998 h 1118663"/>
                <a:gd name="csX61" fmla="*/ 838998 w 1118663"/>
                <a:gd name="csY61" fmla="*/ 938879 h 1118663"/>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Lst>
              <a:rect l="l" t="t" r="r" b="b"/>
              <a:pathLst>
                <a:path w="1118663" h="1118663">
                  <a:moveTo>
                    <a:pt x="179785" y="79905"/>
                  </a:moveTo>
                  <a:cubicBezTo>
                    <a:pt x="124623" y="79905"/>
                    <a:pt x="79905" y="124623"/>
                    <a:pt x="79905" y="179785"/>
                  </a:cubicBezTo>
                  <a:cubicBezTo>
                    <a:pt x="79905" y="234948"/>
                    <a:pt x="124623" y="279666"/>
                    <a:pt x="179785" y="279666"/>
                  </a:cubicBezTo>
                  <a:cubicBezTo>
                    <a:pt x="234948" y="279666"/>
                    <a:pt x="279666" y="234948"/>
                    <a:pt x="279666" y="179785"/>
                  </a:cubicBezTo>
                  <a:cubicBezTo>
                    <a:pt x="279666" y="124623"/>
                    <a:pt x="234948" y="79905"/>
                    <a:pt x="179785" y="79905"/>
                  </a:cubicBezTo>
                  <a:close/>
                  <a:moveTo>
                    <a:pt x="0" y="179785"/>
                  </a:moveTo>
                  <a:cubicBezTo>
                    <a:pt x="0" y="80493"/>
                    <a:pt x="80493" y="0"/>
                    <a:pt x="179785" y="0"/>
                  </a:cubicBezTo>
                  <a:cubicBezTo>
                    <a:pt x="279078" y="0"/>
                    <a:pt x="359571" y="80493"/>
                    <a:pt x="359571" y="179785"/>
                  </a:cubicBezTo>
                  <a:cubicBezTo>
                    <a:pt x="359571" y="214965"/>
                    <a:pt x="349467" y="247784"/>
                    <a:pt x="332003" y="275501"/>
                  </a:cubicBezTo>
                  <a:lnTo>
                    <a:pt x="463618" y="407114"/>
                  </a:lnTo>
                  <a:cubicBezTo>
                    <a:pt x="491333" y="389651"/>
                    <a:pt x="524154" y="379547"/>
                    <a:pt x="559332" y="379547"/>
                  </a:cubicBezTo>
                  <a:cubicBezTo>
                    <a:pt x="594510" y="379547"/>
                    <a:pt x="627331" y="389651"/>
                    <a:pt x="655046" y="407114"/>
                  </a:cubicBezTo>
                  <a:lnTo>
                    <a:pt x="786660" y="275501"/>
                  </a:lnTo>
                  <a:cubicBezTo>
                    <a:pt x="769197" y="247784"/>
                    <a:pt x="759093" y="214965"/>
                    <a:pt x="759093" y="179785"/>
                  </a:cubicBezTo>
                  <a:cubicBezTo>
                    <a:pt x="759093" y="80493"/>
                    <a:pt x="839585" y="0"/>
                    <a:pt x="938879" y="0"/>
                  </a:cubicBezTo>
                  <a:cubicBezTo>
                    <a:pt x="1038172" y="0"/>
                    <a:pt x="1118664" y="80493"/>
                    <a:pt x="1118664" y="179785"/>
                  </a:cubicBezTo>
                  <a:cubicBezTo>
                    <a:pt x="1118664" y="279078"/>
                    <a:pt x="1038172" y="359571"/>
                    <a:pt x="938879" y="359571"/>
                  </a:cubicBezTo>
                  <a:cubicBezTo>
                    <a:pt x="903701" y="359571"/>
                    <a:pt x="870880" y="349467"/>
                    <a:pt x="843165" y="332003"/>
                  </a:cubicBezTo>
                  <a:lnTo>
                    <a:pt x="711550" y="463618"/>
                  </a:lnTo>
                  <a:cubicBezTo>
                    <a:pt x="729013" y="491333"/>
                    <a:pt x="739117" y="524154"/>
                    <a:pt x="739117" y="559332"/>
                  </a:cubicBezTo>
                  <a:cubicBezTo>
                    <a:pt x="739117" y="594510"/>
                    <a:pt x="729013" y="627331"/>
                    <a:pt x="711550" y="655046"/>
                  </a:cubicBezTo>
                  <a:lnTo>
                    <a:pt x="843165" y="786660"/>
                  </a:lnTo>
                  <a:cubicBezTo>
                    <a:pt x="870880" y="769197"/>
                    <a:pt x="903701" y="759093"/>
                    <a:pt x="938879" y="759093"/>
                  </a:cubicBezTo>
                  <a:cubicBezTo>
                    <a:pt x="1038172" y="759093"/>
                    <a:pt x="1118664" y="839585"/>
                    <a:pt x="1118664" y="938879"/>
                  </a:cubicBezTo>
                  <a:cubicBezTo>
                    <a:pt x="1118664" y="1038172"/>
                    <a:pt x="1038172" y="1118664"/>
                    <a:pt x="938879" y="1118664"/>
                  </a:cubicBezTo>
                  <a:cubicBezTo>
                    <a:pt x="839585" y="1118664"/>
                    <a:pt x="759093" y="1038172"/>
                    <a:pt x="759093" y="938879"/>
                  </a:cubicBezTo>
                  <a:cubicBezTo>
                    <a:pt x="759093" y="903701"/>
                    <a:pt x="769197" y="870880"/>
                    <a:pt x="786660" y="843165"/>
                  </a:cubicBezTo>
                  <a:lnTo>
                    <a:pt x="655046" y="711550"/>
                  </a:lnTo>
                  <a:cubicBezTo>
                    <a:pt x="627331" y="729013"/>
                    <a:pt x="594510" y="739117"/>
                    <a:pt x="559332" y="739117"/>
                  </a:cubicBezTo>
                  <a:cubicBezTo>
                    <a:pt x="524154" y="739117"/>
                    <a:pt x="491333" y="729013"/>
                    <a:pt x="463618" y="711550"/>
                  </a:cubicBezTo>
                  <a:lnTo>
                    <a:pt x="332003" y="843165"/>
                  </a:lnTo>
                  <a:cubicBezTo>
                    <a:pt x="349467" y="870880"/>
                    <a:pt x="359571" y="903701"/>
                    <a:pt x="359571" y="938879"/>
                  </a:cubicBezTo>
                  <a:cubicBezTo>
                    <a:pt x="359571" y="1038172"/>
                    <a:pt x="279078" y="1118664"/>
                    <a:pt x="179785" y="1118664"/>
                  </a:cubicBezTo>
                  <a:cubicBezTo>
                    <a:pt x="80493" y="1118664"/>
                    <a:pt x="0" y="1038172"/>
                    <a:pt x="0" y="938879"/>
                  </a:cubicBezTo>
                  <a:cubicBezTo>
                    <a:pt x="0" y="839585"/>
                    <a:pt x="80493" y="759093"/>
                    <a:pt x="179785" y="759093"/>
                  </a:cubicBezTo>
                  <a:cubicBezTo>
                    <a:pt x="214965" y="759093"/>
                    <a:pt x="247784" y="769197"/>
                    <a:pt x="275501" y="786660"/>
                  </a:cubicBezTo>
                  <a:lnTo>
                    <a:pt x="407114" y="655046"/>
                  </a:lnTo>
                  <a:cubicBezTo>
                    <a:pt x="389651" y="627331"/>
                    <a:pt x="379547" y="594510"/>
                    <a:pt x="379547" y="559332"/>
                  </a:cubicBezTo>
                  <a:cubicBezTo>
                    <a:pt x="379547" y="524154"/>
                    <a:pt x="389651" y="491333"/>
                    <a:pt x="407114" y="463618"/>
                  </a:cubicBezTo>
                  <a:lnTo>
                    <a:pt x="275501" y="332003"/>
                  </a:lnTo>
                  <a:cubicBezTo>
                    <a:pt x="247784" y="349467"/>
                    <a:pt x="214965" y="359571"/>
                    <a:pt x="179785" y="359571"/>
                  </a:cubicBezTo>
                  <a:cubicBezTo>
                    <a:pt x="80493" y="359571"/>
                    <a:pt x="0" y="279078"/>
                    <a:pt x="0" y="179785"/>
                  </a:cubicBezTo>
                  <a:close/>
                  <a:moveTo>
                    <a:pt x="938879" y="79905"/>
                  </a:moveTo>
                  <a:cubicBezTo>
                    <a:pt x="883717" y="79905"/>
                    <a:pt x="838998" y="124623"/>
                    <a:pt x="838998" y="179785"/>
                  </a:cubicBezTo>
                  <a:cubicBezTo>
                    <a:pt x="838998" y="234948"/>
                    <a:pt x="883717" y="279666"/>
                    <a:pt x="938879" y="279666"/>
                  </a:cubicBezTo>
                  <a:cubicBezTo>
                    <a:pt x="994041" y="279666"/>
                    <a:pt x="1038759" y="234948"/>
                    <a:pt x="1038759" y="179785"/>
                  </a:cubicBezTo>
                  <a:cubicBezTo>
                    <a:pt x="1038759" y="124623"/>
                    <a:pt x="994041" y="79905"/>
                    <a:pt x="938879" y="79905"/>
                  </a:cubicBezTo>
                  <a:close/>
                  <a:moveTo>
                    <a:pt x="79905" y="938879"/>
                  </a:moveTo>
                  <a:cubicBezTo>
                    <a:pt x="79905" y="994041"/>
                    <a:pt x="124623" y="1038759"/>
                    <a:pt x="179785" y="1038759"/>
                  </a:cubicBezTo>
                  <a:cubicBezTo>
                    <a:pt x="234948" y="1038759"/>
                    <a:pt x="279666" y="994041"/>
                    <a:pt x="279666" y="938879"/>
                  </a:cubicBezTo>
                  <a:cubicBezTo>
                    <a:pt x="279666" y="883717"/>
                    <a:pt x="234948" y="838998"/>
                    <a:pt x="179785" y="838998"/>
                  </a:cubicBezTo>
                  <a:cubicBezTo>
                    <a:pt x="124623" y="838998"/>
                    <a:pt x="79905" y="883717"/>
                    <a:pt x="79905" y="938879"/>
                  </a:cubicBezTo>
                  <a:close/>
                  <a:moveTo>
                    <a:pt x="559332" y="459451"/>
                  </a:moveTo>
                  <a:cubicBezTo>
                    <a:pt x="504170" y="459451"/>
                    <a:pt x="459451" y="504170"/>
                    <a:pt x="459451" y="559332"/>
                  </a:cubicBezTo>
                  <a:cubicBezTo>
                    <a:pt x="459451" y="614494"/>
                    <a:pt x="504170" y="659213"/>
                    <a:pt x="559332" y="659213"/>
                  </a:cubicBezTo>
                  <a:cubicBezTo>
                    <a:pt x="614494" y="659213"/>
                    <a:pt x="659213" y="614494"/>
                    <a:pt x="659213" y="559332"/>
                  </a:cubicBezTo>
                  <a:cubicBezTo>
                    <a:pt x="659213" y="504170"/>
                    <a:pt x="614494" y="459451"/>
                    <a:pt x="559332" y="459451"/>
                  </a:cubicBezTo>
                  <a:close/>
                  <a:moveTo>
                    <a:pt x="838998" y="938879"/>
                  </a:moveTo>
                  <a:cubicBezTo>
                    <a:pt x="838998" y="994041"/>
                    <a:pt x="883717" y="1038759"/>
                    <a:pt x="938879" y="1038759"/>
                  </a:cubicBezTo>
                  <a:cubicBezTo>
                    <a:pt x="994041" y="1038759"/>
                    <a:pt x="1038759" y="994041"/>
                    <a:pt x="1038759" y="938879"/>
                  </a:cubicBezTo>
                  <a:cubicBezTo>
                    <a:pt x="1038759" y="883717"/>
                    <a:pt x="994041" y="838998"/>
                    <a:pt x="938879" y="838998"/>
                  </a:cubicBezTo>
                  <a:cubicBezTo>
                    <a:pt x="883717" y="838998"/>
                    <a:pt x="838998" y="883717"/>
                    <a:pt x="838998" y="938879"/>
                  </a:cubicBezTo>
                  <a:close/>
                </a:path>
              </a:pathLst>
            </a:custGeom>
            <a:solidFill>
              <a:schemeClr val="bg1"/>
            </a:solidFill>
            <a:ln w="39886"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4" name="Graphic 23">
              <a:extLst>
                <a:ext uri="{FF2B5EF4-FFF2-40B4-BE49-F238E27FC236}">
                  <a16:creationId xmlns:a16="http://schemas.microsoft.com/office/drawing/2014/main" id="{41DEEC72-2C91-DF25-2110-243E2EBA6E4F}"/>
                </a:ext>
              </a:extLst>
            </p:cNvPr>
            <p:cNvSpPr/>
            <p:nvPr/>
          </p:nvSpPr>
          <p:spPr>
            <a:xfrm>
              <a:off x="5928233" y="4676228"/>
              <a:ext cx="319565" cy="335951"/>
            </a:xfrm>
            <a:custGeom>
              <a:avLst/>
              <a:gdLst>
                <a:gd name="csX0" fmla="*/ 656957 w 1075017"/>
                <a:gd name="csY0" fmla="*/ 333865 h 1130146"/>
                <a:gd name="csX1" fmla="*/ 644752 w 1075017"/>
                <a:gd name="csY1" fmla="*/ 319983 h 1130146"/>
                <a:gd name="csX2" fmla="*/ 586808 w 1075017"/>
                <a:gd name="csY2" fmla="*/ 284119 h 1130146"/>
                <a:gd name="csX3" fmla="*/ 515071 w 1075017"/>
                <a:gd name="csY3" fmla="*/ 260821 h 1130146"/>
                <a:gd name="csX4" fmla="*/ 501366 w 1075017"/>
                <a:gd name="csY4" fmla="*/ 250474 h 1130146"/>
                <a:gd name="csX5" fmla="*/ 496162 w 1075017"/>
                <a:gd name="csY5" fmla="*/ 234120 h 1130146"/>
                <a:gd name="csX6" fmla="*/ 501366 w 1075017"/>
                <a:gd name="csY6" fmla="*/ 217764 h 1130146"/>
                <a:gd name="csX7" fmla="*/ 515071 w 1075017"/>
                <a:gd name="csY7" fmla="*/ 207418 h 1130146"/>
                <a:gd name="csX8" fmla="*/ 586808 w 1075017"/>
                <a:gd name="csY8" fmla="*/ 184121 h 1130146"/>
                <a:gd name="csX9" fmla="*/ 643875 w 1075017"/>
                <a:gd name="csY9" fmla="*/ 148148 h 1130146"/>
                <a:gd name="csX10" fmla="*/ 678394 w 1075017"/>
                <a:gd name="csY10" fmla="*/ 92351 h 1130146"/>
                <a:gd name="csX11" fmla="*/ 678990 w 1075017"/>
                <a:gd name="csY11" fmla="*/ 90577 h 1130146"/>
                <a:gd name="csX12" fmla="*/ 702304 w 1075017"/>
                <a:gd name="csY12" fmla="*/ 18895 h 1130146"/>
                <a:gd name="csX13" fmla="*/ 712660 w 1075017"/>
                <a:gd name="csY13" fmla="*/ 5201 h 1130146"/>
                <a:gd name="csX14" fmla="*/ 729028 w 1075017"/>
                <a:gd name="csY14" fmla="*/ 0 h 1130146"/>
                <a:gd name="csX15" fmla="*/ 745393 w 1075017"/>
                <a:gd name="csY15" fmla="*/ 5201 h 1130146"/>
                <a:gd name="csX16" fmla="*/ 755749 w 1075017"/>
                <a:gd name="csY16" fmla="*/ 18895 h 1130146"/>
                <a:gd name="csX17" fmla="*/ 779063 w 1075017"/>
                <a:gd name="csY17" fmla="*/ 90577 h 1130146"/>
                <a:gd name="csX18" fmla="*/ 814800 w 1075017"/>
                <a:gd name="csY18" fmla="*/ 148411 h 1130146"/>
                <a:gd name="csX19" fmla="*/ 872680 w 1075017"/>
                <a:gd name="csY19" fmla="*/ 184121 h 1130146"/>
                <a:gd name="csX20" fmla="*/ 944417 w 1075017"/>
                <a:gd name="csY20" fmla="*/ 207418 h 1130146"/>
                <a:gd name="csX21" fmla="*/ 945850 w 1075017"/>
                <a:gd name="csY21" fmla="*/ 207776 h 1130146"/>
                <a:gd name="csX22" fmla="*/ 959556 w 1075017"/>
                <a:gd name="csY22" fmla="*/ 218123 h 1130146"/>
                <a:gd name="csX23" fmla="*/ 964760 w 1075017"/>
                <a:gd name="csY23" fmla="*/ 234478 h 1130146"/>
                <a:gd name="csX24" fmla="*/ 959556 w 1075017"/>
                <a:gd name="csY24" fmla="*/ 250832 h 1130146"/>
                <a:gd name="csX25" fmla="*/ 945850 w 1075017"/>
                <a:gd name="csY25" fmla="*/ 261180 h 1130146"/>
                <a:gd name="csX26" fmla="*/ 874114 w 1075017"/>
                <a:gd name="csY26" fmla="*/ 284477 h 1130146"/>
                <a:gd name="csX27" fmla="*/ 816236 w 1075017"/>
                <a:gd name="csY27" fmla="*/ 320187 h 1130146"/>
                <a:gd name="csX28" fmla="*/ 780496 w 1075017"/>
                <a:gd name="csY28" fmla="*/ 378020 h 1130146"/>
                <a:gd name="csX29" fmla="*/ 757182 w 1075017"/>
                <a:gd name="csY29" fmla="*/ 449702 h 1130146"/>
                <a:gd name="csX30" fmla="*/ 756493 w 1075017"/>
                <a:gd name="csY30" fmla="*/ 451463 h 1130146"/>
                <a:gd name="csX31" fmla="*/ 746829 w 1075017"/>
                <a:gd name="csY31" fmla="*/ 463396 h 1130146"/>
                <a:gd name="csX32" fmla="*/ 730461 w 1075017"/>
                <a:gd name="csY32" fmla="*/ 468598 h 1130146"/>
                <a:gd name="csX33" fmla="*/ 714093 w 1075017"/>
                <a:gd name="csY33" fmla="*/ 463396 h 1130146"/>
                <a:gd name="csX34" fmla="*/ 703740 w 1075017"/>
                <a:gd name="csY34" fmla="*/ 449702 h 1130146"/>
                <a:gd name="csX35" fmla="*/ 680426 w 1075017"/>
                <a:gd name="csY35" fmla="*/ 378020 h 1130146"/>
                <a:gd name="csX36" fmla="*/ 656957 w 1075017"/>
                <a:gd name="csY36" fmla="*/ 333865 h 1130146"/>
                <a:gd name="csX37" fmla="*/ 1064248 w 1075017"/>
                <a:gd name="csY37" fmla="*/ 523277 h 1130146"/>
                <a:gd name="csX38" fmla="*/ 1026270 w 1075017"/>
                <a:gd name="csY38" fmla="*/ 510945 h 1130146"/>
                <a:gd name="csX39" fmla="*/ 995629 w 1075017"/>
                <a:gd name="csY39" fmla="*/ 492039 h 1130146"/>
                <a:gd name="csX40" fmla="*/ 976709 w 1075017"/>
                <a:gd name="csY40" fmla="*/ 461420 h 1130146"/>
                <a:gd name="csX41" fmla="*/ 964366 w 1075017"/>
                <a:gd name="csY41" fmla="*/ 423472 h 1130146"/>
                <a:gd name="csX42" fmla="*/ 958883 w 1075017"/>
                <a:gd name="csY42" fmla="*/ 416222 h 1130146"/>
                <a:gd name="csX43" fmla="*/ 950217 w 1075017"/>
                <a:gd name="csY43" fmla="*/ 413468 h 1130146"/>
                <a:gd name="csX44" fmla="*/ 941553 w 1075017"/>
                <a:gd name="csY44" fmla="*/ 416222 h 1130146"/>
                <a:gd name="csX45" fmla="*/ 936071 w 1075017"/>
                <a:gd name="csY45" fmla="*/ 423472 h 1130146"/>
                <a:gd name="csX46" fmla="*/ 923727 w 1075017"/>
                <a:gd name="csY46" fmla="*/ 461420 h 1130146"/>
                <a:gd name="csX47" fmla="*/ 905138 w 1075017"/>
                <a:gd name="csY47" fmla="*/ 491901 h 1130146"/>
                <a:gd name="csX48" fmla="*/ 874927 w 1075017"/>
                <a:gd name="csY48" fmla="*/ 510945 h 1130146"/>
                <a:gd name="csX49" fmla="*/ 836948 w 1075017"/>
                <a:gd name="csY49" fmla="*/ 523277 h 1130146"/>
                <a:gd name="csX50" fmla="*/ 829693 w 1075017"/>
                <a:gd name="csY50" fmla="*/ 528754 h 1130146"/>
                <a:gd name="csX51" fmla="*/ 826937 w 1075017"/>
                <a:gd name="csY51" fmla="*/ 537415 h 1130146"/>
                <a:gd name="csX52" fmla="*/ 829693 w 1075017"/>
                <a:gd name="csY52" fmla="*/ 546073 h 1130146"/>
                <a:gd name="csX53" fmla="*/ 836948 w 1075017"/>
                <a:gd name="csY53" fmla="*/ 551550 h 1130146"/>
                <a:gd name="csX54" fmla="*/ 874927 w 1075017"/>
                <a:gd name="csY54" fmla="*/ 563883 h 1130146"/>
                <a:gd name="csX55" fmla="*/ 886992 w 1075017"/>
                <a:gd name="csY55" fmla="*/ 569065 h 1130146"/>
                <a:gd name="csX56" fmla="*/ 887072 w 1075017"/>
                <a:gd name="csY56" fmla="*/ 569484 h 1130146"/>
                <a:gd name="csX57" fmla="*/ 905551 w 1075017"/>
                <a:gd name="csY57" fmla="*/ 583181 h 1130146"/>
                <a:gd name="csX58" fmla="*/ 924482 w 1075017"/>
                <a:gd name="csY58" fmla="*/ 613863 h 1130146"/>
                <a:gd name="csX59" fmla="*/ 936831 w 1075017"/>
                <a:gd name="csY59" fmla="*/ 651819 h 1130146"/>
                <a:gd name="csX60" fmla="*/ 942311 w 1075017"/>
                <a:gd name="csY60" fmla="*/ 659072 h 1130146"/>
                <a:gd name="csX61" fmla="*/ 950972 w 1075017"/>
                <a:gd name="csY61" fmla="*/ 661825 h 1130146"/>
                <a:gd name="csX62" fmla="*/ 959635 w 1075017"/>
                <a:gd name="csY62" fmla="*/ 659072 h 1130146"/>
                <a:gd name="csX63" fmla="*/ 964694 w 1075017"/>
                <a:gd name="csY63" fmla="*/ 652880 h 1130146"/>
                <a:gd name="csX64" fmla="*/ 964688 w 1075017"/>
                <a:gd name="csY64" fmla="*/ 652641 h 1130146"/>
                <a:gd name="csX65" fmla="*/ 965124 w 1075017"/>
                <a:gd name="csY65" fmla="*/ 651546 h 1130146"/>
                <a:gd name="csX66" fmla="*/ 977467 w 1075017"/>
                <a:gd name="csY66" fmla="*/ 613598 h 1130146"/>
                <a:gd name="csX67" fmla="*/ 996387 w 1075017"/>
                <a:gd name="csY67" fmla="*/ 582979 h 1130146"/>
                <a:gd name="csX68" fmla="*/ 1027028 w 1075017"/>
                <a:gd name="csY68" fmla="*/ 564073 h 1130146"/>
                <a:gd name="csX69" fmla="*/ 1065007 w 1075017"/>
                <a:gd name="csY69" fmla="*/ 551741 h 1130146"/>
                <a:gd name="csX70" fmla="*/ 1072262 w 1075017"/>
                <a:gd name="csY70" fmla="*/ 546264 h 1130146"/>
                <a:gd name="csX71" fmla="*/ 1075018 w 1075017"/>
                <a:gd name="csY71" fmla="*/ 537603 h 1130146"/>
                <a:gd name="csX72" fmla="*/ 1072262 w 1075017"/>
                <a:gd name="csY72" fmla="*/ 528945 h 1130146"/>
                <a:gd name="csX73" fmla="*/ 1065007 w 1075017"/>
                <a:gd name="csY73" fmla="*/ 523468 h 1130146"/>
                <a:gd name="csX74" fmla="*/ 1064248 w 1075017"/>
                <a:gd name="csY74" fmla="*/ 523277 h 1130146"/>
                <a:gd name="csX75" fmla="*/ 385904 w 1075017"/>
                <a:gd name="csY75" fmla="*/ 137823 h 1130146"/>
                <a:gd name="csX76" fmla="*/ 500316 w 1075017"/>
                <a:gd name="csY76" fmla="*/ 155066 h 1130146"/>
                <a:gd name="csX77" fmla="*/ 498188 w 1075017"/>
                <a:gd name="csY77" fmla="*/ 155752 h 1130146"/>
                <a:gd name="csX78" fmla="*/ 456566 w 1075017"/>
                <a:gd name="csY78" fmla="*/ 186625 h 1130146"/>
                <a:gd name="csX79" fmla="*/ 444233 w 1075017"/>
                <a:gd name="csY79" fmla="*/ 212089 h 1130146"/>
                <a:gd name="csX80" fmla="*/ 385904 w 1075017"/>
                <a:gd name="csY80" fmla="*/ 206734 h 1130146"/>
                <a:gd name="csX81" fmla="*/ 68911 w 1075017"/>
                <a:gd name="csY81" fmla="*/ 523727 h 1130146"/>
                <a:gd name="csX82" fmla="*/ 385904 w 1075017"/>
                <a:gd name="csY82" fmla="*/ 840719 h 1130146"/>
                <a:gd name="csX83" fmla="*/ 702896 w 1075017"/>
                <a:gd name="csY83" fmla="*/ 523727 h 1130146"/>
                <a:gd name="csX84" fmla="*/ 702847 w 1075017"/>
                <a:gd name="csY84" fmla="*/ 518054 h 1130146"/>
                <a:gd name="csX85" fmla="*/ 730971 w 1075017"/>
                <a:gd name="csY85" fmla="*/ 522985 h 1130146"/>
                <a:gd name="csX86" fmla="*/ 771642 w 1075017"/>
                <a:gd name="csY86" fmla="*/ 512293 h 1130146"/>
                <a:gd name="csX87" fmla="*/ 771808 w 1075017"/>
                <a:gd name="csY87" fmla="*/ 523727 h 1130146"/>
                <a:gd name="csX88" fmla="*/ 682060 w 1075017"/>
                <a:gd name="csY88" fmla="*/ 771154 h 1130146"/>
                <a:gd name="csX89" fmla="*/ 982233 w 1075017"/>
                <a:gd name="csY89" fmla="*/ 1071327 h 1130146"/>
                <a:gd name="csX90" fmla="*/ 982233 w 1075017"/>
                <a:gd name="csY90" fmla="*/ 1120056 h 1130146"/>
                <a:gd name="csX91" fmla="*/ 933507 w 1075017"/>
                <a:gd name="csY91" fmla="*/ 1120056 h 1130146"/>
                <a:gd name="csX92" fmla="*/ 633332 w 1075017"/>
                <a:gd name="csY92" fmla="*/ 819883 h 1130146"/>
                <a:gd name="csX93" fmla="*/ 385904 w 1075017"/>
                <a:gd name="csY93" fmla="*/ 909631 h 1130146"/>
                <a:gd name="csX94" fmla="*/ 0 w 1075017"/>
                <a:gd name="csY94" fmla="*/ 523727 h 1130146"/>
                <a:gd name="csX95" fmla="*/ 385904 w 1075017"/>
                <a:gd name="csY95" fmla="*/ 137823 h 113014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 ang="0">
                  <a:pos x="csX40" y="csY40"/>
                </a:cxn>
                <a:cxn ang="0">
                  <a:pos x="csX41" y="csY41"/>
                </a:cxn>
                <a:cxn ang="0">
                  <a:pos x="csX42" y="csY42"/>
                </a:cxn>
                <a:cxn ang="0">
                  <a:pos x="csX43" y="csY43"/>
                </a:cxn>
                <a:cxn ang="0">
                  <a:pos x="csX44" y="csY44"/>
                </a:cxn>
                <a:cxn ang="0">
                  <a:pos x="csX45" y="csY45"/>
                </a:cxn>
                <a:cxn ang="0">
                  <a:pos x="csX46" y="csY46"/>
                </a:cxn>
                <a:cxn ang="0">
                  <a:pos x="csX47" y="csY47"/>
                </a:cxn>
                <a:cxn ang="0">
                  <a:pos x="csX48" y="csY48"/>
                </a:cxn>
                <a:cxn ang="0">
                  <a:pos x="csX49" y="csY49"/>
                </a:cxn>
                <a:cxn ang="0">
                  <a:pos x="csX50" y="csY50"/>
                </a:cxn>
                <a:cxn ang="0">
                  <a:pos x="csX51" y="csY51"/>
                </a:cxn>
                <a:cxn ang="0">
                  <a:pos x="csX52" y="csY52"/>
                </a:cxn>
                <a:cxn ang="0">
                  <a:pos x="csX53" y="csY53"/>
                </a:cxn>
                <a:cxn ang="0">
                  <a:pos x="csX54" y="csY54"/>
                </a:cxn>
                <a:cxn ang="0">
                  <a:pos x="csX55" y="csY55"/>
                </a:cxn>
                <a:cxn ang="0">
                  <a:pos x="csX56" y="csY56"/>
                </a:cxn>
                <a:cxn ang="0">
                  <a:pos x="csX57" y="csY57"/>
                </a:cxn>
                <a:cxn ang="0">
                  <a:pos x="csX58" y="csY58"/>
                </a:cxn>
                <a:cxn ang="0">
                  <a:pos x="csX59" y="csY59"/>
                </a:cxn>
                <a:cxn ang="0">
                  <a:pos x="csX60" y="csY60"/>
                </a:cxn>
                <a:cxn ang="0">
                  <a:pos x="csX61" y="csY61"/>
                </a:cxn>
                <a:cxn ang="0">
                  <a:pos x="csX62" y="csY62"/>
                </a:cxn>
                <a:cxn ang="0">
                  <a:pos x="csX63" y="csY63"/>
                </a:cxn>
                <a:cxn ang="0">
                  <a:pos x="csX64" y="csY64"/>
                </a:cxn>
                <a:cxn ang="0">
                  <a:pos x="csX65" y="csY65"/>
                </a:cxn>
                <a:cxn ang="0">
                  <a:pos x="csX66" y="csY66"/>
                </a:cxn>
                <a:cxn ang="0">
                  <a:pos x="csX67" y="csY67"/>
                </a:cxn>
                <a:cxn ang="0">
                  <a:pos x="csX68" y="csY68"/>
                </a:cxn>
                <a:cxn ang="0">
                  <a:pos x="csX69" y="csY69"/>
                </a:cxn>
                <a:cxn ang="0">
                  <a:pos x="csX70" y="csY70"/>
                </a:cxn>
                <a:cxn ang="0">
                  <a:pos x="csX71" y="csY71"/>
                </a:cxn>
                <a:cxn ang="0">
                  <a:pos x="csX72" y="csY72"/>
                </a:cxn>
                <a:cxn ang="0">
                  <a:pos x="csX73" y="csY73"/>
                </a:cxn>
                <a:cxn ang="0">
                  <a:pos x="csX74" y="csY74"/>
                </a:cxn>
                <a:cxn ang="0">
                  <a:pos x="csX75" y="csY75"/>
                </a:cxn>
                <a:cxn ang="0">
                  <a:pos x="csX76" y="csY76"/>
                </a:cxn>
                <a:cxn ang="0">
                  <a:pos x="csX77" y="csY77"/>
                </a:cxn>
                <a:cxn ang="0">
                  <a:pos x="csX78" y="csY78"/>
                </a:cxn>
                <a:cxn ang="0">
                  <a:pos x="csX79" y="csY79"/>
                </a:cxn>
                <a:cxn ang="0">
                  <a:pos x="csX80" y="csY80"/>
                </a:cxn>
                <a:cxn ang="0">
                  <a:pos x="csX81" y="csY81"/>
                </a:cxn>
                <a:cxn ang="0">
                  <a:pos x="csX82" y="csY82"/>
                </a:cxn>
                <a:cxn ang="0">
                  <a:pos x="csX83" y="csY83"/>
                </a:cxn>
                <a:cxn ang="0">
                  <a:pos x="csX84" y="csY84"/>
                </a:cxn>
                <a:cxn ang="0">
                  <a:pos x="csX85" y="csY85"/>
                </a:cxn>
                <a:cxn ang="0">
                  <a:pos x="csX86" y="csY86"/>
                </a:cxn>
                <a:cxn ang="0">
                  <a:pos x="csX87" y="csY87"/>
                </a:cxn>
                <a:cxn ang="0">
                  <a:pos x="csX88" y="csY88"/>
                </a:cxn>
                <a:cxn ang="0">
                  <a:pos x="csX89" y="csY89"/>
                </a:cxn>
                <a:cxn ang="0">
                  <a:pos x="csX90" y="csY90"/>
                </a:cxn>
                <a:cxn ang="0">
                  <a:pos x="csX91" y="csY91"/>
                </a:cxn>
                <a:cxn ang="0">
                  <a:pos x="csX92" y="csY92"/>
                </a:cxn>
                <a:cxn ang="0">
                  <a:pos x="csX93" y="csY93"/>
                </a:cxn>
                <a:cxn ang="0">
                  <a:pos x="csX94" y="csY94"/>
                </a:cxn>
                <a:cxn ang="0">
                  <a:pos x="csX95" y="csY95"/>
                </a:cxn>
              </a:cxnLst>
              <a:rect l="l" t="t" r="r" b="b"/>
              <a:pathLst>
                <a:path w="1075017" h="1130146">
                  <a:moveTo>
                    <a:pt x="656957" y="333865"/>
                  </a:moveTo>
                  <a:cubicBezTo>
                    <a:pt x="653192" y="329000"/>
                    <a:pt x="649118" y="324363"/>
                    <a:pt x="644752" y="319983"/>
                  </a:cubicBezTo>
                  <a:cubicBezTo>
                    <a:pt x="628500" y="303679"/>
                    <a:pt x="608656" y="291399"/>
                    <a:pt x="586808" y="284119"/>
                  </a:cubicBezTo>
                  <a:lnTo>
                    <a:pt x="515071" y="260821"/>
                  </a:lnTo>
                  <a:cubicBezTo>
                    <a:pt x="509542" y="258873"/>
                    <a:pt x="504754" y="255256"/>
                    <a:pt x="501366" y="250474"/>
                  </a:cubicBezTo>
                  <a:cubicBezTo>
                    <a:pt x="497981" y="245693"/>
                    <a:pt x="496162" y="239978"/>
                    <a:pt x="496162" y="234120"/>
                  </a:cubicBezTo>
                  <a:cubicBezTo>
                    <a:pt x="496162" y="228261"/>
                    <a:pt x="497981" y="222547"/>
                    <a:pt x="501366" y="217764"/>
                  </a:cubicBezTo>
                  <a:cubicBezTo>
                    <a:pt x="504754" y="212982"/>
                    <a:pt x="509542" y="209367"/>
                    <a:pt x="515071" y="207418"/>
                  </a:cubicBezTo>
                  <a:lnTo>
                    <a:pt x="586808" y="184121"/>
                  </a:lnTo>
                  <a:cubicBezTo>
                    <a:pt x="608353" y="176688"/>
                    <a:pt x="627882" y="164376"/>
                    <a:pt x="643875" y="148148"/>
                  </a:cubicBezTo>
                  <a:cubicBezTo>
                    <a:pt x="659427" y="132365"/>
                    <a:pt x="671222" y="113294"/>
                    <a:pt x="678394" y="92351"/>
                  </a:cubicBezTo>
                  <a:lnTo>
                    <a:pt x="678990" y="90577"/>
                  </a:lnTo>
                  <a:lnTo>
                    <a:pt x="702304" y="18895"/>
                  </a:lnTo>
                  <a:cubicBezTo>
                    <a:pt x="704255" y="13370"/>
                    <a:pt x="707872" y="8586"/>
                    <a:pt x="712660" y="5201"/>
                  </a:cubicBezTo>
                  <a:cubicBezTo>
                    <a:pt x="717445" y="1817"/>
                    <a:pt x="723162" y="0"/>
                    <a:pt x="729028" y="0"/>
                  </a:cubicBezTo>
                  <a:cubicBezTo>
                    <a:pt x="734891" y="0"/>
                    <a:pt x="740607" y="1817"/>
                    <a:pt x="745393" y="5201"/>
                  </a:cubicBezTo>
                  <a:cubicBezTo>
                    <a:pt x="750181" y="8586"/>
                    <a:pt x="753797" y="13370"/>
                    <a:pt x="755749" y="18895"/>
                  </a:cubicBezTo>
                  <a:lnTo>
                    <a:pt x="779063" y="90577"/>
                  </a:lnTo>
                  <a:cubicBezTo>
                    <a:pt x="786312" y="112369"/>
                    <a:pt x="798548" y="132172"/>
                    <a:pt x="814800" y="148411"/>
                  </a:cubicBezTo>
                  <a:cubicBezTo>
                    <a:pt x="831052" y="164650"/>
                    <a:pt x="850868" y="176877"/>
                    <a:pt x="872680" y="184121"/>
                  </a:cubicBezTo>
                  <a:lnTo>
                    <a:pt x="944417" y="207418"/>
                  </a:lnTo>
                  <a:lnTo>
                    <a:pt x="945850" y="207776"/>
                  </a:lnTo>
                  <a:cubicBezTo>
                    <a:pt x="951380" y="209726"/>
                    <a:pt x="956168" y="213340"/>
                    <a:pt x="959556" y="218123"/>
                  </a:cubicBezTo>
                  <a:cubicBezTo>
                    <a:pt x="962940" y="222905"/>
                    <a:pt x="964760" y="228619"/>
                    <a:pt x="964760" y="234478"/>
                  </a:cubicBezTo>
                  <a:cubicBezTo>
                    <a:pt x="964760" y="240337"/>
                    <a:pt x="962940" y="246051"/>
                    <a:pt x="959556" y="250832"/>
                  </a:cubicBezTo>
                  <a:cubicBezTo>
                    <a:pt x="956168" y="255614"/>
                    <a:pt x="951380" y="259231"/>
                    <a:pt x="945850" y="261180"/>
                  </a:cubicBezTo>
                  <a:lnTo>
                    <a:pt x="874114" y="284477"/>
                  </a:lnTo>
                  <a:cubicBezTo>
                    <a:pt x="852305" y="291721"/>
                    <a:pt x="832486" y="303949"/>
                    <a:pt x="816236" y="320187"/>
                  </a:cubicBezTo>
                  <a:cubicBezTo>
                    <a:pt x="799984" y="336425"/>
                    <a:pt x="787748" y="356228"/>
                    <a:pt x="780496" y="378020"/>
                  </a:cubicBezTo>
                  <a:lnTo>
                    <a:pt x="757182" y="449702"/>
                  </a:lnTo>
                  <a:cubicBezTo>
                    <a:pt x="756973" y="450300"/>
                    <a:pt x="756744" y="450887"/>
                    <a:pt x="756493" y="451463"/>
                  </a:cubicBezTo>
                  <a:cubicBezTo>
                    <a:pt x="754439" y="456243"/>
                    <a:pt x="751099" y="460378"/>
                    <a:pt x="746829" y="463396"/>
                  </a:cubicBezTo>
                  <a:cubicBezTo>
                    <a:pt x="742044" y="466781"/>
                    <a:pt x="736324" y="468598"/>
                    <a:pt x="730461" y="468598"/>
                  </a:cubicBezTo>
                  <a:cubicBezTo>
                    <a:pt x="724598" y="468598"/>
                    <a:pt x="718878" y="466781"/>
                    <a:pt x="714093" y="463396"/>
                  </a:cubicBezTo>
                  <a:cubicBezTo>
                    <a:pt x="709308" y="460011"/>
                    <a:pt x="705689" y="455229"/>
                    <a:pt x="703740" y="449702"/>
                  </a:cubicBezTo>
                  <a:lnTo>
                    <a:pt x="680426" y="378020"/>
                  </a:lnTo>
                  <a:cubicBezTo>
                    <a:pt x="675158" y="362033"/>
                    <a:pt x="667209" y="347107"/>
                    <a:pt x="656957" y="333865"/>
                  </a:cubicBezTo>
                  <a:close/>
                  <a:moveTo>
                    <a:pt x="1064248" y="523277"/>
                  </a:moveTo>
                  <a:lnTo>
                    <a:pt x="1026270" y="510945"/>
                  </a:lnTo>
                  <a:cubicBezTo>
                    <a:pt x="1014723" y="507108"/>
                    <a:pt x="1004232" y="500636"/>
                    <a:pt x="995629" y="492039"/>
                  </a:cubicBezTo>
                  <a:cubicBezTo>
                    <a:pt x="987024" y="483441"/>
                    <a:pt x="980546" y="472958"/>
                    <a:pt x="976709" y="461420"/>
                  </a:cubicBezTo>
                  <a:lnTo>
                    <a:pt x="964366" y="423472"/>
                  </a:lnTo>
                  <a:cubicBezTo>
                    <a:pt x="963332" y="420547"/>
                    <a:pt x="961416" y="418014"/>
                    <a:pt x="958883" y="416222"/>
                  </a:cubicBezTo>
                  <a:cubicBezTo>
                    <a:pt x="956350" y="414430"/>
                    <a:pt x="953323" y="413468"/>
                    <a:pt x="950217" y="413468"/>
                  </a:cubicBezTo>
                  <a:cubicBezTo>
                    <a:pt x="947113" y="413468"/>
                    <a:pt x="944086" y="414430"/>
                    <a:pt x="941553" y="416222"/>
                  </a:cubicBezTo>
                  <a:cubicBezTo>
                    <a:pt x="939020" y="418014"/>
                    <a:pt x="937104" y="420547"/>
                    <a:pt x="936071" y="423472"/>
                  </a:cubicBezTo>
                  <a:lnTo>
                    <a:pt x="923727" y="461420"/>
                  </a:lnTo>
                  <a:cubicBezTo>
                    <a:pt x="919967" y="472878"/>
                    <a:pt x="913603" y="483309"/>
                    <a:pt x="905138" y="491901"/>
                  </a:cubicBezTo>
                  <a:cubicBezTo>
                    <a:pt x="896672" y="500493"/>
                    <a:pt x="886330" y="507009"/>
                    <a:pt x="874927" y="510945"/>
                  </a:cubicBezTo>
                  <a:lnTo>
                    <a:pt x="836948" y="523277"/>
                  </a:lnTo>
                  <a:cubicBezTo>
                    <a:pt x="834021" y="524311"/>
                    <a:pt x="831485" y="526224"/>
                    <a:pt x="829693" y="528754"/>
                  </a:cubicBezTo>
                  <a:cubicBezTo>
                    <a:pt x="827899" y="531288"/>
                    <a:pt x="826937" y="534312"/>
                    <a:pt x="826937" y="537415"/>
                  </a:cubicBezTo>
                  <a:cubicBezTo>
                    <a:pt x="826937" y="540516"/>
                    <a:pt x="827899" y="543540"/>
                    <a:pt x="829693" y="546073"/>
                  </a:cubicBezTo>
                  <a:cubicBezTo>
                    <a:pt x="831485" y="548604"/>
                    <a:pt x="834021" y="550519"/>
                    <a:pt x="836948" y="551550"/>
                  </a:cubicBezTo>
                  <a:lnTo>
                    <a:pt x="874927" y="563883"/>
                  </a:lnTo>
                  <a:cubicBezTo>
                    <a:pt x="879100" y="565275"/>
                    <a:pt x="883133" y="567009"/>
                    <a:pt x="886992" y="569065"/>
                  </a:cubicBezTo>
                  <a:lnTo>
                    <a:pt x="887072" y="569484"/>
                  </a:lnTo>
                  <a:cubicBezTo>
                    <a:pt x="893853" y="573103"/>
                    <a:pt x="900082" y="577712"/>
                    <a:pt x="905551" y="583181"/>
                  </a:cubicBezTo>
                  <a:cubicBezTo>
                    <a:pt x="914165" y="591795"/>
                    <a:pt x="920648" y="602300"/>
                    <a:pt x="924482" y="613863"/>
                  </a:cubicBezTo>
                  <a:lnTo>
                    <a:pt x="936831" y="651819"/>
                  </a:lnTo>
                  <a:cubicBezTo>
                    <a:pt x="937865" y="654744"/>
                    <a:pt x="939778" y="657277"/>
                    <a:pt x="942311" y="659072"/>
                  </a:cubicBezTo>
                  <a:cubicBezTo>
                    <a:pt x="944844" y="660863"/>
                    <a:pt x="947871" y="661825"/>
                    <a:pt x="950972" y="661825"/>
                  </a:cubicBezTo>
                  <a:cubicBezTo>
                    <a:pt x="954076" y="661825"/>
                    <a:pt x="957102" y="660863"/>
                    <a:pt x="959635" y="659072"/>
                  </a:cubicBezTo>
                  <a:cubicBezTo>
                    <a:pt x="961854" y="657500"/>
                    <a:pt x="963602" y="655359"/>
                    <a:pt x="964694" y="652880"/>
                  </a:cubicBezTo>
                  <a:lnTo>
                    <a:pt x="964688" y="652641"/>
                  </a:lnTo>
                  <a:cubicBezTo>
                    <a:pt x="964848" y="652282"/>
                    <a:pt x="964994" y="651918"/>
                    <a:pt x="965124" y="651546"/>
                  </a:cubicBezTo>
                  <a:lnTo>
                    <a:pt x="977467" y="613598"/>
                  </a:lnTo>
                  <a:cubicBezTo>
                    <a:pt x="981307" y="602060"/>
                    <a:pt x="987784" y="591577"/>
                    <a:pt x="996387" y="582979"/>
                  </a:cubicBezTo>
                  <a:cubicBezTo>
                    <a:pt x="1004990" y="574382"/>
                    <a:pt x="1015484" y="567910"/>
                    <a:pt x="1027028" y="564073"/>
                  </a:cubicBezTo>
                  <a:lnTo>
                    <a:pt x="1065007" y="551741"/>
                  </a:lnTo>
                  <a:cubicBezTo>
                    <a:pt x="1067934" y="550707"/>
                    <a:pt x="1070470" y="548794"/>
                    <a:pt x="1072262" y="546264"/>
                  </a:cubicBezTo>
                  <a:cubicBezTo>
                    <a:pt x="1074056" y="543730"/>
                    <a:pt x="1075018" y="540706"/>
                    <a:pt x="1075018" y="537603"/>
                  </a:cubicBezTo>
                  <a:cubicBezTo>
                    <a:pt x="1075018" y="534502"/>
                    <a:pt x="1074056" y="531478"/>
                    <a:pt x="1072262" y="528945"/>
                  </a:cubicBezTo>
                  <a:cubicBezTo>
                    <a:pt x="1070470" y="526414"/>
                    <a:pt x="1067934" y="524499"/>
                    <a:pt x="1065007" y="523468"/>
                  </a:cubicBezTo>
                  <a:lnTo>
                    <a:pt x="1064248" y="523277"/>
                  </a:lnTo>
                  <a:close/>
                  <a:moveTo>
                    <a:pt x="385904" y="137823"/>
                  </a:moveTo>
                  <a:cubicBezTo>
                    <a:pt x="425740" y="137823"/>
                    <a:pt x="464165" y="143859"/>
                    <a:pt x="500316" y="155066"/>
                  </a:cubicBezTo>
                  <a:lnTo>
                    <a:pt x="498188" y="155752"/>
                  </a:lnTo>
                  <a:cubicBezTo>
                    <a:pt x="481437" y="161454"/>
                    <a:pt x="466883" y="172247"/>
                    <a:pt x="456566" y="186625"/>
                  </a:cubicBezTo>
                  <a:cubicBezTo>
                    <a:pt x="451009" y="194361"/>
                    <a:pt x="446844" y="202979"/>
                    <a:pt x="444233" y="212089"/>
                  </a:cubicBezTo>
                  <a:cubicBezTo>
                    <a:pt x="425327" y="208573"/>
                    <a:pt x="405830" y="206734"/>
                    <a:pt x="385904" y="206734"/>
                  </a:cubicBezTo>
                  <a:cubicBezTo>
                    <a:pt x="210833" y="206734"/>
                    <a:pt x="68911" y="348656"/>
                    <a:pt x="68911" y="523727"/>
                  </a:cubicBezTo>
                  <a:cubicBezTo>
                    <a:pt x="68911" y="698798"/>
                    <a:pt x="210833" y="840719"/>
                    <a:pt x="385904" y="840719"/>
                  </a:cubicBezTo>
                  <a:cubicBezTo>
                    <a:pt x="560975" y="840719"/>
                    <a:pt x="702896" y="698798"/>
                    <a:pt x="702896" y="523727"/>
                  </a:cubicBezTo>
                  <a:cubicBezTo>
                    <a:pt x="702896" y="521833"/>
                    <a:pt x="702880" y="519942"/>
                    <a:pt x="702847" y="518054"/>
                  </a:cubicBezTo>
                  <a:cubicBezTo>
                    <a:pt x="711814" y="521296"/>
                    <a:pt x="721326" y="522985"/>
                    <a:pt x="730971" y="522985"/>
                  </a:cubicBezTo>
                  <a:cubicBezTo>
                    <a:pt x="745271" y="522985"/>
                    <a:pt x="759274" y="519278"/>
                    <a:pt x="771642" y="512293"/>
                  </a:cubicBezTo>
                  <a:cubicBezTo>
                    <a:pt x="771753" y="516091"/>
                    <a:pt x="771808" y="519901"/>
                    <a:pt x="771808" y="523727"/>
                  </a:cubicBezTo>
                  <a:cubicBezTo>
                    <a:pt x="771808" y="617884"/>
                    <a:pt x="738085" y="704167"/>
                    <a:pt x="682060" y="771154"/>
                  </a:cubicBezTo>
                  <a:lnTo>
                    <a:pt x="982233" y="1071327"/>
                  </a:lnTo>
                  <a:cubicBezTo>
                    <a:pt x="995690" y="1084784"/>
                    <a:pt x="995690" y="1106599"/>
                    <a:pt x="982233" y="1120056"/>
                  </a:cubicBezTo>
                  <a:cubicBezTo>
                    <a:pt x="968779" y="1133510"/>
                    <a:pt x="946961" y="1133510"/>
                    <a:pt x="933507" y="1120056"/>
                  </a:cubicBezTo>
                  <a:lnTo>
                    <a:pt x="633332" y="819883"/>
                  </a:lnTo>
                  <a:cubicBezTo>
                    <a:pt x="566344" y="875908"/>
                    <a:pt x="480062" y="909631"/>
                    <a:pt x="385904" y="909631"/>
                  </a:cubicBezTo>
                  <a:cubicBezTo>
                    <a:pt x="172775" y="909631"/>
                    <a:pt x="0" y="736856"/>
                    <a:pt x="0" y="523727"/>
                  </a:cubicBezTo>
                  <a:cubicBezTo>
                    <a:pt x="0" y="310597"/>
                    <a:pt x="172775" y="137823"/>
                    <a:pt x="385904" y="137823"/>
                  </a:cubicBezTo>
                  <a:close/>
                </a:path>
              </a:pathLst>
            </a:custGeom>
            <a:solidFill>
              <a:schemeClr val="bg1"/>
            </a:solidFill>
            <a:ln w="27384"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4" name="Graphic 140">
              <a:extLst>
                <a:ext uri="{FF2B5EF4-FFF2-40B4-BE49-F238E27FC236}">
                  <a16:creationId xmlns:a16="http://schemas.microsoft.com/office/drawing/2014/main" id="{798F0D54-9BC5-7CF6-1090-D88B5159323E}"/>
                </a:ext>
              </a:extLst>
            </p:cNvPr>
            <p:cNvSpPr/>
            <p:nvPr/>
          </p:nvSpPr>
          <p:spPr>
            <a:xfrm>
              <a:off x="9600020" y="4723804"/>
              <a:ext cx="258120" cy="286803"/>
            </a:xfrm>
            <a:custGeom>
              <a:avLst/>
              <a:gdLst>
                <a:gd name="csX0" fmla="*/ 0 w 859618"/>
                <a:gd name="csY0" fmla="*/ 179087 h 955142"/>
                <a:gd name="csX1" fmla="*/ 35817 w 859618"/>
                <a:gd name="csY1" fmla="*/ 143270 h 955142"/>
                <a:gd name="csX2" fmla="*/ 408319 w 859618"/>
                <a:gd name="csY2" fmla="*/ 7163 h 955142"/>
                <a:gd name="csX3" fmla="*/ 451300 w 859618"/>
                <a:gd name="csY3" fmla="*/ 7163 h 955142"/>
                <a:gd name="csX4" fmla="*/ 823801 w 859618"/>
                <a:gd name="csY4" fmla="*/ 143270 h 955142"/>
                <a:gd name="csX5" fmla="*/ 859619 w 859618"/>
                <a:gd name="csY5" fmla="*/ 179087 h 955142"/>
                <a:gd name="csX6" fmla="*/ 859619 w 859618"/>
                <a:gd name="csY6" fmla="*/ 429809 h 955142"/>
                <a:gd name="csX7" fmla="*/ 442942 w 859618"/>
                <a:gd name="csY7" fmla="*/ 952648 h 955142"/>
                <a:gd name="csX8" fmla="*/ 416676 w 859618"/>
                <a:gd name="csY8" fmla="*/ 952648 h 955142"/>
                <a:gd name="csX9" fmla="*/ 0 w 859618"/>
                <a:gd name="csY9" fmla="*/ 429809 h 955142"/>
                <a:gd name="csX10" fmla="*/ 0 w 859618"/>
                <a:gd name="csY10" fmla="*/ 179087 h 955142"/>
                <a:gd name="csX11" fmla="*/ 71635 w 859618"/>
                <a:gd name="csY11" fmla="*/ 213854 h 955142"/>
                <a:gd name="csX12" fmla="*/ 71635 w 859618"/>
                <a:gd name="csY12" fmla="*/ 429809 h 955142"/>
                <a:gd name="csX13" fmla="*/ 429809 w 859618"/>
                <a:gd name="csY13" fmla="*/ 880727 h 955142"/>
                <a:gd name="csX14" fmla="*/ 787984 w 859618"/>
                <a:gd name="csY14" fmla="*/ 429809 h 955142"/>
                <a:gd name="csX15" fmla="*/ 787984 w 859618"/>
                <a:gd name="csY15" fmla="*/ 213854 h 955142"/>
                <a:gd name="csX16" fmla="*/ 429809 w 859618"/>
                <a:gd name="csY16" fmla="*/ 80136 h 955142"/>
                <a:gd name="csX17" fmla="*/ 71635 w 859618"/>
                <a:gd name="csY17" fmla="*/ 213854 h 955142"/>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Lst>
              <a:rect l="l" t="t" r="r" b="b"/>
              <a:pathLst>
                <a:path w="859618" h="955142">
                  <a:moveTo>
                    <a:pt x="0" y="179087"/>
                  </a:moveTo>
                  <a:cubicBezTo>
                    <a:pt x="0" y="159306"/>
                    <a:pt x="16036" y="143270"/>
                    <a:pt x="35817" y="143270"/>
                  </a:cubicBezTo>
                  <a:cubicBezTo>
                    <a:pt x="162993" y="143270"/>
                    <a:pt x="286922" y="98235"/>
                    <a:pt x="408319" y="7163"/>
                  </a:cubicBezTo>
                  <a:cubicBezTo>
                    <a:pt x="421054" y="-2388"/>
                    <a:pt x="438565" y="-2388"/>
                    <a:pt x="451300" y="7163"/>
                  </a:cubicBezTo>
                  <a:cubicBezTo>
                    <a:pt x="572697" y="98235"/>
                    <a:pt x="696625" y="143270"/>
                    <a:pt x="823801" y="143270"/>
                  </a:cubicBezTo>
                  <a:cubicBezTo>
                    <a:pt x="843583" y="143270"/>
                    <a:pt x="859619" y="159306"/>
                    <a:pt x="859619" y="179087"/>
                  </a:cubicBezTo>
                  <a:lnTo>
                    <a:pt x="859619" y="429809"/>
                  </a:lnTo>
                  <a:cubicBezTo>
                    <a:pt x="859619" y="668640"/>
                    <a:pt x="718355" y="844145"/>
                    <a:pt x="442942" y="952648"/>
                  </a:cubicBezTo>
                  <a:cubicBezTo>
                    <a:pt x="434503" y="955974"/>
                    <a:pt x="425116" y="955974"/>
                    <a:pt x="416676" y="952648"/>
                  </a:cubicBezTo>
                  <a:cubicBezTo>
                    <a:pt x="141264" y="844145"/>
                    <a:pt x="0" y="668592"/>
                    <a:pt x="0" y="429809"/>
                  </a:cubicBezTo>
                  <a:lnTo>
                    <a:pt x="0" y="179087"/>
                  </a:lnTo>
                  <a:close/>
                  <a:moveTo>
                    <a:pt x="71635" y="213854"/>
                  </a:moveTo>
                  <a:lnTo>
                    <a:pt x="71635" y="429809"/>
                  </a:lnTo>
                  <a:cubicBezTo>
                    <a:pt x="71635" y="633061"/>
                    <a:pt x="188782" y="782205"/>
                    <a:pt x="429809" y="880727"/>
                  </a:cubicBezTo>
                  <a:cubicBezTo>
                    <a:pt x="670837" y="782205"/>
                    <a:pt x="787984" y="633061"/>
                    <a:pt x="787984" y="429809"/>
                  </a:cubicBezTo>
                  <a:lnTo>
                    <a:pt x="787984" y="213854"/>
                  </a:lnTo>
                  <a:cubicBezTo>
                    <a:pt x="664915" y="206595"/>
                    <a:pt x="545380" y="161799"/>
                    <a:pt x="429809" y="80136"/>
                  </a:cubicBezTo>
                  <a:cubicBezTo>
                    <a:pt x="314238" y="161799"/>
                    <a:pt x="194704" y="206595"/>
                    <a:pt x="71635" y="213854"/>
                  </a:cubicBezTo>
                  <a:close/>
                </a:path>
              </a:pathLst>
            </a:custGeom>
            <a:solidFill>
              <a:schemeClr val="bg1"/>
            </a:solid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5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25" name="Group 24">
              <a:extLst>
                <a:ext uri="{FF2B5EF4-FFF2-40B4-BE49-F238E27FC236}">
                  <a16:creationId xmlns:a16="http://schemas.microsoft.com/office/drawing/2014/main" id="{9CA051F3-1BC1-A3C5-226E-68288F4E2F47}"/>
                </a:ext>
              </a:extLst>
            </p:cNvPr>
            <p:cNvGrpSpPr/>
            <p:nvPr/>
          </p:nvGrpSpPr>
          <p:grpSpPr>
            <a:xfrm>
              <a:off x="4101955" y="4705297"/>
              <a:ext cx="347192" cy="277840"/>
              <a:chOff x="11776177" y="9302818"/>
              <a:chExt cx="862476" cy="690196"/>
            </a:xfrm>
            <a:solidFill>
              <a:schemeClr val="bg1"/>
            </a:solidFill>
          </p:grpSpPr>
          <p:sp>
            <p:nvSpPr>
              <p:cNvPr id="26" name="Graphic 152">
                <a:extLst>
                  <a:ext uri="{FF2B5EF4-FFF2-40B4-BE49-F238E27FC236}">
                    <a16:creationId xmlns:a16="http://schemas.microsoft.com/office/drawing/2014/main" id="{D860D1E7-BE14-8A1C-F24D-43E0FDF92AE3}"/>
                  </a:ext>
                </a:extLst>
              </p:cNvPr>
              <p:cNvSpPr/>
              <p:nvPr/>
            </p:nvSpPr>
            <p:spPr>
              <a:xfrm>
                <a:off x="11776177" y="9302818"/>
                <a:ext cx="862476" cy="690196"/>
              </a:xfrm>
              <a:custGeom>
                <a:avLst/>
                <a:gdLst>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436661 w 1028405"/>
                  <a:gd name="csY21" fmla="*/ 506541 h 822981"/>
                  <a:gd name="csX22" fmla="*/ 308522 w 1028405"/>
                  <a:gd name="csY22" fmla="*/ 591384 h 822981"/>
                  <a:gd name="csX23" fmla="*/ 180382 w 1028405"/>
                  <a:gd name="csY23" fmla="*/ 506541 h 822981"/>
                  <a:gd name="csX24" fmla="*/ 179971 w 1028405"/>
                  <a:gd name="csY24" fmla="*/ 500885 h 822981"/>
                  <a:gd name="csX25" fmla="*/ 179971 w 1028405"/>
                  <a:gd name="csY25" fmla="*/ 475637 h 822981"/>
                  <a:gd name="csX26" fmla="*/ 218536 w 1028405"/>
                  <a:gd name="csY26" fmla="*/ 437072 h 822981"/>
                  <a:gd name="csX27" fmla="*/ 398507 w 1028405"/>
                  <a:gd name="csY27" fmla="*/ 437072 h 822981"/>
                  <a:gd name="csX28" fmla="*/ 578581 w 1028405"/>
                  <a:gd name="csY28" fmla="*/ 462577 h 822981"/>
                  <a:gd name="csX29" fmla="*/ 809869 w 1028405"/>
                  <a:gd name="csY29" fmla="*/ 462577 h 822981"/>
                  <a:gd name="csX30" fmla="*/ 848424 w 1028405"/>
                  <a:gd name="csY30" fmla="*/ 501152 h 822981"/>
                  <a:gd name="csX31" fmla="*/ 815114 w 1028405"/>
                  <a:gd name="csY31" fmla="*/ 539347 h 822981"/>
                  <a:gd name="csX32" fmla="*/ 809869 w 1028405"/>
                  <a:gd name="csY32" fmla="*/ 539707 h 822981"/>
                  <a:gd name="csX33" fmla="*/ 578581 w 1028405"/>
                  <a:gd name="csY33" fmla="*/ 539707 h 822981"/>
                  <a:gd name="csX34" fmla="*/ 540026 w 1028405"/>
                  <a:gd name="csY34" fmla="*/ 501131 h 822981"/>
                  <a:gd name="csX35" fmla="*/ 573336 w 1028405"/>
                  <a:gd name="csY35" fmla="*/ 462937 h 822981"/>
                  <a:gd name="csX36" fmla="*/ 578581 w 1028405"/>
                  <a:gd name="csY36" fmla="*/ 462577 h 822981"/>
                  <a:gd name="csX37" fmla="*/ 809869 w 1028405"/>
                  <a:gd name="csY37" fmla="*/ 462577 h 822981"/>
                  <a:gd name="csX38" fmla="*/ 578581 w 1028405"/>
                  <a:gd name="csY38" fmla="*/ 462577 h 822981"/>
                  <a:gd name="csX39" fmla="*/ 308522 w 1028405"/>
                  <a:gd name="csY39" fmla="*/ 231494 h 822981"/>
                  <a:gd name="csX40" fmla="*/ 385652 w 1028405"/>
                  <a:gd name="csY40" fmla="*/ 308624 h 822981"/>
                  <a:gd name="csX41" fmla="*/ 308522 w 1028405"/>
                  <a:gd name="csY41" fmla="*/ 385755 h 822981"/>
                  <a:gd name="csX42" fmla="*/ 231391 w 1028405"/>
                  <a:gd name="csY42" fmla="*/ 308624 h 822981"/>
                  <a:gd name="csX43" fmla="*/ 308522 w 1028405"/>
                  <a:gd name="csY43" fmla="*/ 231494 h 822981"/>
                  <a:gd name="csX44" fmla="*/ 578581 w 1028405"/>
                  <a:gd name="csY44" fmla="*/ 282811 h 822981"/>
                  <a:gd name="csX45" fmla="*/ 809869 w 1028405"/>
                  <a:gd name="csY45" fmla="*/ 282811 h 822981"/>
                  <a:gd name="csX46" fmla="*/ 848424 w 1028405"/>
                  <a:gd name="csY46" fmla="*/ 321387 h 822981"/>
                  <a:gd name="csX47" fmla="*/ 815114 w 1028405"/>
                  <a:gd name="csY47" fmla="*/ 359582 h 822981"/>
                  <a:gd name="csX48" fmla="*/ 809869 w 1028405"/>
                  <a:gd name="csY48" fmla="*/ 359942 h 822981"/>
                  <a:gd name="csX49" fmla="*/ 578581 w 1028405"/>
                  <a:gd name="csY49" fmla="*/ 359942 h 822981"/>
                  <a:gd name="csX50" fmla="*/ 540026 w 1028405"/>
                  <a:gd name="csY50" fmla="*/ 321366 h 822981"/>
                  <a:gd name="csX51" fmla="*/ 573336 w 1028405"/>
                  <a:gd name="csY51" fmla="*/ 283171 h 822981"/>
                  <a:gd name="csX52" fmla="*/ 578581 w 1028405"/>
                  <a:gd name="csY52" fmla="*/ 282811 h 822981"/>
                  <a:gd name="csX53" fmla="*/ 809869 w 1028405"/>
                  <a:gd name="csY53" fmla="*/ 282811 h 822981"/>
                  <a:gd name="csX54" fmla="*/ 578581 w 1028405"/>
                  <a:gd name="csY54"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462061 w 1028405"/>
                  <a:gd name="csY21" fmla="*/ 598616 h 822981"/>
                  <a:gd name="csX22" fmla="*/ 308522 w 1028405"/>
                  <a:gd name="csY22" fmla="*/ 591384 h 822981"/>
                  <a:gd name="csX23" fmla="*/ 180382 w 1028405"/>
                  <a:gd name="csY23" fmla="*/ 506541 h 822981"/>
                  <a:gd name="csX24" fmla="*/ 179971 w 1028405"/>
                  <a:gd name="csY24" fmla="*/ 500885 h 822981"/>
                  <a:gd name="csX25" fmla="*/ 179971 w 1028405"/>
                  <a:gd name="csY25" fmla="*/ 475637 h 822981"/>
                  <a:gd name="csX26" fmla="*/ 218536 w 1028405"/>
                  <a:gd name="csY26" fmla="*/ 437072 h 822981"/>
                  <a:gd name="csX27" fmla="*/ 398507 w 1028405"/>
                  <a:gd name="csY27" fmla="*/ 437072 h 822981"/>
                  <a:gd name="csX28" fmla="*/ 578581 w 1028405"/>
                  <a:gd name="csY28" fmla="*/ 462577 h 822981"/>
                  <a:gd name="csX29" fmla="*/ 809869 w 1028405"/>
                  <a:gd name="csY29" fmla="*/ 462577 h 822981"/>
                  <a:gd name="csX30" fmla="*/ 848424 w 1028405"/>
                  <a:gd name="csY30" fmla="*/ 501152 h 822981"/>
                  <a:gd name="csX31" fmla="*/ 815114 w 1028405"/>
                  <a:gd name="csY31" fmla="*/ 539347 h 822981"/>
                  <a:gd name="csX32" fmla="*/ 809869 w 1028405"/>
                  <a:gd name="csY32" fmla="*/ 539707 h 822981"/>
                  <a:gd name="csX33" fmla="*/ 578581 w 1028405"/>
                  <a:gd name="csY33" fmla="*/ 539707 h 822981"/>
                  <a:gd name="csX34" fmla="*/ 540026 w 1028405"/>
                  <a:gd name="csY34" fmla="*/ 501131 h 822981"/>
                  <a:gd name="csX35" fmla="*/ 573336 w 1028405"/>
                  <a:gd name="csY35" fmla="*/ 462937 h 822981"/>
                  <a:gd name="csX36" fmla="*/ 578581 w 1028405"/>
                  <a:gd name="csY36" fmla="*/ 462577 h 822981"/>
                  <a:gd name="csX37" fmla="*/ 809869 w 1028405"/>
                  <a:gd name="csY37" fmla="*/ 462577 h 822981"/>
                  <a:gd name="csX38" fmla="*/ 578581 w 1028405"/>
                  <a:gd name="csY38" fmla="*/ 462577 h 822981"/>
                  <a:gd name="csX39" fmla="*/ 308522 w 1028405"/>
                  <a:gd name="csY39" fmla="*/ 231494 h 822981"/>
                  <a:gd name="csX40" fmla="*/ 385652 w 1028405"/>
                  <a:gd name="csY40" fmla="*/ 308624 h 822981"/>
                  <a:gd name="csX41" fmla="*/ 308522 w 1028405"/>
                  <a:gd name="csY41" fmla="*/ 385755 h 822981"/>
                  <a:gd name="csX42" fmla="*/ 231391 w 1028405"/>
                  <a:gd name="csY42" fmla="*/ 308624 h 822981"/>
                  <a:gd name="csX43" fmla="*/ 308522 w 1028405"/>
                  <a:gd name="csY43" fmla="*/ 231494 h 822981"/>
                  <a:gd name="csX44" fmla="*/ 578581 w 1028405"/>
                  <a:gd name="csY44" fmla="*/ 282811 h 822981"/>
                  <a:gd name="csX45" fmla="*/ 809869 w 1028405"/>
                  <a:gd name="csY45" fmla="*/ 282811 h 822981"/>
                  <a:gd name="csX46" fmla="*/ 848424 w 1028405"/>
                  <a:gd name="csY46" fmla="*/ 321387 h 822981"/>
                  <a:gd name="csX47" fmla="*/ 815114 w 1028405"/>
                  <a:gd name="csY47" fmla="*/ 359582 h 822981"/>
                  <a:gd name="csX48" fmla="*/ 809869 w 1028405"/>
                  <a:gd name="csY48" fmla="*/ 359942 h 822981"/>
                  <a:gd name="csX49" fmla="*/ 578581 w 1028405"/>
                  <a:gd name="csY49" fmla="*/ 359942 h 822981"/>
                  <a:gd name="csX50" fmla="*/ 540026 w 1028405"/>
                  <a:gd name="csY50" fmla="*/ 321366 h 822981"/>
                  <a:gd name="csX51" fmla="*/ 573336 w 1028405"/>
                  <a:gd name="csY51" fmla="*/ 283171 h 822981"/>
                  <a:gd name="csX52" fmla="*/ 578581 w 1028405"/>
                  <a:gd name="csY52" fmla="*/ 282811 h 822981"/>
                  <a:gd name="csX53" fmla="*/ 809869 w 1028405"/>
                  <a:gd name="csY53" fmla="*/ 282811 h 822981"/>
                  <a:gd name="csX54" fmla="*/ 578581 w 1028405"/>
                  <a:gd name="csY54"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437072 w 1028405"/>
                  <a:gd name="csY20" fmla="*/ 500988 h 822981"/>
                  <a:gd name="csX21" fmla="*/ 308522 w 1028405"/>
                  <a:gd name="csY21" fmla="*/ 591384 h 822981"/>
                  <a:gd name="csX22" fmla="*/ 180382 w 1028405"/>
                  <a:gd name="csY22" fmla="*/ 506541 h 822981"/>
                  <a:gd name="csX23" fmla="*/ 179971 w 1028405"/>
                  <a:gd name="csY23" fmla="*/ 500885 h 822981"/>
                  <a:gd name="csX24" fmla="*/ 179971 w 1028405"/>
                  <a:gd name="csY24" fmla="*/ 475637 h 822981"/>
                  <a:gd name="csX25" fmla="*/ 218536 w 1028405"/>
                  <a:gd name="csY25" fmla="*/ 437072 h 822981"/>
                  <a:gd name="csX26" fmla="*/ 398507 w 1028405"/>
                  <a:gd name="csY26" fmla="*/ 437072 h 822981"/>
                  <a:gd name="csX27" fmla="*/ 578581 w 1028405"/>
                  <a:gd name="csY27" fmla="*/ 462577 h 822981"/>
                  <a:gd name="csX28" fmla="*/ 809869 w 1028405"/>
                  <a:gd name="csY28" fmla="*/ 462577 h 822981"/>
                  <a:gd name="csX29" fmla="*/ 848424 w 1028405"/>
                  <a:gd name="csY29" fmla="*/ 501152 h 822981"/>
                  <a:gd name="csX30" fmla="*/ 815114 w 1028405"/>
                  <a:gd name="csY30" fmla="*/ 539347 h 822981"/>
                  <a:gd name="csX31" fmla="*/ 809869 w 1028405"/>
                  <a:gd name="csY31" fmla="*/ 539707 h 822981"/>
                  <a:gd name="csX32" fmla="*/ 578581 w 1028405"/>
                  <a:gd name="csY32" fmla="*/ 539707 h 822981"/>
                  <a:gd name="csX33" fmla="*/ 540026 w 1028405"/>
                  <a:gd name="csY33" fmla="*/ 501131 h 822981"/>
                  <a:gd name="csX34" fmla="*/ 573336 w 1028405"/>
                  <a:gd name="csY34" fmla="*/ 462937 h 822981"/>
                  <a:gd name="csX35" fmla="*/ 578581 w 1028405"/>
                  <a:gd name="csY35" fmla="*/ 462577 h 822981"/>
                  <a:gd name="csX36" fmla="*/ 809869 w 1028405"/>
                  <a:gd name="csY36" fmla="*/ 462577 h 822981"/>
                  <a:gd name="csX37" fmla="*/ 578581 w 1028405"/>
                  <a:gd name="csY37" fmla="*/ 462577 h 822981"/>
                  <a:gd name="csX38" fmla="*/ 308522 w 1028405"/>
                  <a:gd name="csY38" fmla="*/ 231494 h 822981"/>
                  <a:gd name="csX39" fmla="*/ 385652 w 1028405"/>
                  <a:gd name="csY39" fmla="*/ 308624 h 822981"/>
                  <a:gd name="csX40" fmla="*/ 308522 w 1028405"/>
                  <a:gd name="csY40" fmla="*/ 385755 h 822981"/>
                  <a:gd name="csX41" fmla="*/ 231391 w 1028405"/>
                  <a:gd name="csY41" fmla="*/ 308624 h 822981"/>
                  <a:gd name="csX42" fmla="*/ 308522 w 1028405"/>
                  <a:gd name="csY42" fmla="*/ 231494 h 822981"/>
                  <a:gd name="csX43" fmla="*/ 578581 w 1028405"/>
                  <a:gd name="csY43" fmla="*/ 282811 h 822981"/>
                  <a:gd name="csX44" fmla="*/ 809869 w 1028405"/>
                  <a:gd name="csY44" fmla="*/ 282811 h 822981"/>
                  <a:gd name="csX45" fmla="*/ 848424 w 1028405"/>
                  <a:gd name="csY45" fmla="*/ 321387 h 822981"/>
                  <a:gd name="csX46" fmla="*/ 815114 w 1028405"/>
                  <a:gd name="csY46" fmla="*/ 359582 h 822981"/>
                  <a:gd name="csX47" fmla="*/ 809869 w 1028405"/>
                  <a:gd name="csY47" fmla="*/ 359942 h 822981"/>
                  <a:gd name="csX48" fmla="*/ 578581 w 1028405"/>
                  <a:gd name="csY48" fmla="*/ 359942 h 822981"/>
                  <a:gd name="csX49" fmla="*/ 540026 w 1028405"/>
                  <a:gd name="csY49" fmla="*/ 321366 h 822981"/>
                  <a:gd name="csX50" fmla="*/ 573336 w 1028405"/>
                  <a:gd name="csY50" fmla="*/ 283171 h 822981"/>
                  <a:gd name="csX51" fmla="*/ 578581 w 1028405"/>
                  <a:gd name="csY51" fmla="*/ 282811 h 822981"/>
                  <a:gd name="csX52" fmla="*/ 809869 w 1028405"/>
                  <a:gd name="csY52" fmla="*/ 282811 h 822981"/>
                  <a:gd name="csX53" fmla="*/ 578581 w 1028405"/>
                  <a:gd name="csY53"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437072 w 1028405"/>
                  <a:gd name="csY19" fmla="*/ 475637 h 822981"/>
                  <a:gd name="csX20" fmla="*/ 308522 w 1028405"/>
                  <a:gd name="csY20" fmla="*/ 591384 h 822981"/>
                  <a:gd name="csX21" fmla="*/ 180382 w 1028405"/>
                  <a:gd name="csY21" fmla="*/ 506541 h 822981"/>
                  <a:gd name="csX22" fmla="*/ 179971 w 1028405"/>
                  <a:gd name="csY22" fmla="*/ 500885 h 822981"/>
                  <a:gd name="csX23" fmla="*/ 179971 w 1028405"/>
                  <a:gd name="csY23" fmla="*/ 475637 h 822981"/>
                  <a:gd name="csX24" fmla="*/ 218536 w 1028405"/>
                  <a:gd name="csY24" fmla="*/ 437072 h 822981"/>
                  <a:gd name="csX25" fmla="*/ 398507 w 1028405"/>
                  <a:gd name="csY25" fmla="*/ 437072 h 822981"/>
                  <a:gd name="csX26" fmla="*/ 578581 w 1028405"/>
                  <a:gd name="csY26" fmla="*/ 462577 h 822981"/>
                  <a:gd name="csX27" fmla="*/ 809869 w 1028405"/>
                  <a:gd name="csY27" fmla="*/ 462577 h 822981"/>
                  <a:gd name="csX28" fmla="*/ 848424 w 1028405"/>
                  <a:gd name="csY28" fmla="*/ 501152 h 822981"/>
                  <a:gd name="csX29" fmla="*/ 815114 w 1028405"/>
                  <a:gd name="csY29" fmla="*/ 539347 h 822981"/>
                  <a:gd name="csX30" fmla="*/ 809869 w 1028405"/>
                  <a:gd name="csY30" fmla="*/ 539707 h 822981"/>
                  <a:gd name="csX31" fmla="*/ 578581 w 1028405"/>
                  <a:gd name="csY31" fmla="*/ 539707 h 822981"/>
                  <a:gd name="csX32" fmla="*/ 540026 w 1028405"/>
                  <a:gd name="csY32" fmla="*/ 501131 h 822981"/>
                  <a:gd name="csX33" fmla="*/ 573336 w 1028405"/>
                  <a:gd name="csY33" fmla="*/ 462937 h 822981"/>
                  <a:gd name="csX34" fmla="*/ 578581 w 1028405"/>
                  <a:gd name="csY34" fmla="*/ 462577 h 822981"/>
                  <a:gd name="csX35" fmla="*/ 809869 w 1028405"/>
                  <a:gd name="csY35" fmla="*/ 462577 h 822981"/>
                  <a:gd name="csX36" fmla="*/ 578581 w 1028405"/>
                  <a:gd name="csY36" fmla="*/ 462577 h 822981"/>
                  <a:gd name="csX37" fmla="*/ 308522 w 1028405"/>
                  <a:gd name="csY37" fmla="*/ 231494 h 822981"/>
                  <a:gd name="csX38" fmla="*/ 385652 w 1028405"/>
                  <a:gd name="csY38" fmla="*/ 308624 h 822981"/>
                  <a:gd name="csX39" fmla="*/ 308522 w 1028405"/>
                  <a:gd name="csY39" fmla="*/ 385755 h 822981"/>
                  <a:gd name="csX40" fmla="*/ 231391 w 1028405"/>
                  <a:gd name="csY40" fmla="*/ 308624 h 822981"/>
                  <a:gd name="csX41" fmla="*/ 308522 w 1028405"/>
                  <a:gd name="csY41" fmla="*/ 231494 h 822981"/>
                  <a:gd name="csX42" fmla="*/ 578581 w 1028405"/>
                  <a:gd name="csY42" fmla="*/ 282811 h 822981"/>
                  <a:gd name="csX43" fmla="*/ 809869 w 1028405"/>
                  <a:gd name="csY43" fmla="*/ 282811 h 822981"/>
                  <a:gd name="csX44" fmla="*/ 848424 w 1028405"/>
                  <a:gd name="csY44" fmla="*/ 321387 h 822981"/>
                  <a:gd name="csX45" fmla="*/ 815114 w 1028405"/>
                  <a:gd name="csY45" fmla="*/ 359582 h 822981"/>
                  <a:gd name="csX46" fmla="*/ 809869 w 1028405"/>
                  <a:gd name="csY46" fmla="*/ 359942 h 822981"/>
                  <a:gd name="csX47" fmla="*/ 578581 w 1028405"/>
                  <a:gd name="csY47" fmla="*/ 359942 h 822981"/>
                  <a:gd name="csX48" fmla="*/ 540026 w 1028405"/>
                  <a:gd name="csY48" fmla="*/ 321366 h 822981"/>
                  <a:gd name="csX49" fmla="*/ 573336 w 1028405"/>
                  <a:gd name="csY49" fmla="*/ 283171 h 822981"/>
                  <a:gd name="csX50" fmla="*/ 578581 w 1028405"/>
                  <a:gd name="csY50" fmla="*/ 282811 h 822981"/>
                  <a:gd name="csX51" fmla="*/ 809869 w 1028405"/>
                  <a:gd name="csY51" fmla="*/ 282811 h 822981"/>
                  <a:gd name="csX52" fmla="*/ 578581 w 1028405"/>
                  <a:gd name="csY52"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398507 w 1028405"/>
                  <a:gd name="csY18" fmla="*/ 437072 h 822981"/>
                  <a:gd name="csX19" fmla="*/ 308522 w 1028405"/>
                  <a:gd name="csY19" fmla="*/ 591384 h 822981"/>
                  <a:gd name="csX20" fmla="*/ 180382 w 1028405"/>
                  <a:gd name="csY20" fmla="*/ 506541 h 822981"/>
                  <a:gd name="csX21" fmla="*/ 179971 w 1028405"/>
                  <a:gd name="csY21" fmla="*/ 500885 h 822981"/>
                  <a:gd name="csX22" fmla="*/ 179971 w 1028405"/>
                  <a:gd name="csY22" fmla="*/ 475637 h 822981"/>
                  <a:gd name="csX23" fmla="*/ 218536 w 1028405"/>
                  <a:gd name="csY23" fmla="*/ 437072 h 822981"/>
                  <a:gd name="csX24" fmla="*/ 398507 w 1028405"/>
                  <a:gd name="csY24" fmla="*/ 437072 h 822981"/>
                  <a:gd name="csX25" fmla="*/ 578581 w 1028405"/>
                  <a:gd name="csY25" fmla="*/ 462577 h 822981"/>
                  <a:gd name="csX26" fmla="*/ 809869 w 1028405"/>
                  <a:gd name="csY26" fmla="*/ 462577 h 822981"/>
                  <a:gd name="csX27" fmla="*/ 848424 w 1028405"/>
                  <a:gd name="csY27" fmla="*/ 501152 h 822981"/>
                  <a:gd name="csX28" fmla="*/ 815114 w 1028405"/>
                  <a:gd name="csY28" fmla="*/ 539347 h 822981"/>
                  <a:gd name="csX29" fmla="*/ 809869 w 1028405"/>
                  <a:gd name="csY29" fmla="*/ 539707 h 822981"/>
                  <a:gd name="csX30" fmla="*/ 578581 w 1028405"/>
                  <a:gd name="csY30" fmla="*/ 539707 h 822981"/>
                  <a:gd name="csX31" fmla="*/ 540026 w 1028405"/>
                  <a:gd name="csY31" fmla="*/ 501131 h 822981"/>
                  <a:gd name="csX32" fmla="*/ 573336 w 1028405"/>
                  <a:gd name="csY32" fmla="*/ 462937 h 822981"/>
                  <a:gd name="csX33" fmla="*/ 578581 w 1028405"/>
                  <a:gd name="csY33" fmla="*/ 462577 h 822981"/>
                  <a:gd name="csX34" fmla="*/ 809869 w 1028405"/>
                  <a:gd name="csY34" fmla="*/ 462577 h 822981"/>
                  <a:gd name="csX35" fmla="*/ 578581 w 1028405"/>
                  <a:gd name="csY35" fmla="*/ 462577 h 822981"/>
                  <a:gd name="csX36" fmla="*/ 308522 w 1028405"/>
                  <a:gd name="csY36" fmla="*/ 231494 h 822981"/>
                  <a:gd name="csX37" fmla="*/ 385652 w 1028405"/>
                  <a:gd name="csY37" fmla="*/ 308624 h 822981"/>
                  <a:gd name="csX38" fmla="*/ 308522 w 1028405"/>
                  <a:gd name="csY38" fmla="*/ 385755 h 822981"/>
                  <a:gd name="csX39" fmla="*/ 231391 w 1028405"/>
                  <a:gd name="csY39" fmla="*/ 308624 h 822981"/>
                  <a:gd name="csX40" fmla="*/ 308522 w 1028405"/>
                  <a:gd name="csY40" fmla="*/ 231494 h 822981"/>
                  <a:gd name="csX41" fmla="*/ 578581 w 1028405"/>
                  <a:gd name="csY41" fmla="*/ 282811 h 822981"/>
                  <a:gd name="csX42" fmla="*/ 809869 w 1028405"/>
                  <a:gd name="csY42" fmla="*/ 282811 h 822981"/>
                  <a:gd name="csX43" fmla="*/ 848424 w 1028405"/>
                  <a:gd name="csY43" fmla="*/ 321387 h 822981"/>
                  <a:gd name="csX44" fmla="*/ 815114 w 1028405"/>
                  <a:gd name="csY44" fmla="*/ 359582 h 822981"/>
                  <a:gd name="csX45" fmla="*/ 809869 w 1028405"/>
                  <a:gd name="csY45" fmla="*/ 359942 h 822981"/>
                  <a:gd name="csX46" fmla="*/ 578581 w 1028405"/>
                  <a:gd name="csY46" fmla="*/ 359942 h 822981"/>
                  <a:gd name="csX47" fmla="*/ 540026 w 1028405"/>
                  <a:gd name="csY47" fmla="*/ 321366 h 822981"/>
                  <a:gd name="csX48" fmla="*/ 573336 w 1028405"/>
                  <a:gd name="csY48" fmla="*/ 283171 h 822981"/>
                  <a:gd name="csX49" fmla="*/ 578581 w 1028405"/>
                  <a:gd name="csY49" fmla="*/ 282811 h 822981"/>
                  <a:gd name="csX50" fmla="*/ 809869 w 1028405"/>
                  <a:gd name="csY50" fmla="*/ 282811 h 822981"/>
                  <a:gd name="csX51" fmla="*/ 578581 w 1028405"/>
                  <a:gd name="csY51"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218536 w 1028405"/>
                  <a:gd name="csY18" fmla="*/ 437072 h 822981"/>
                  <a:gd name="csX19" fmla="*/ 308522 w 1028405"/>
                  <a:gd name="csY19" fmla="*/ 591384 h 822981"/>
                  <a:gd name="csX20" fmla="*/ 180382 w 1028405"/>
                  <a:gd name="csY20" fmla="*/ 506541 h 822981"/>
                  <a:gd name="csX21" fmla="*/ 179971 w 1028405"/>
                  <a:gd name="csY21" fmla="*/ 500885 h 822981"/>
                  <a:gd name="csX22" fmla="*/ 179971 w 1028405"/>
                  <a:gd name="csY22" fmla="*/ 475637 h 822981"/>
                  <a:gd name="csX23" fmla="*/ 218536 w 1028405"/>
                  <a:gd name="csY23" fmla="*/ 437072 h 822981"/>
                  <a:gd name="csX24" fmla="*/ 578581 w 1028405"/>
                  <a:gd name="csY24" fmla="*/ 462577 h 822981"/>
                  <a:gd name="csX25" fmla="*/ 809869 w 1028405"/>
                  <a:gd name="csY25" fmla="*/ 462577 h 822981"/>
                  <a:gd name="csX26" fmla="*/ 848424 w 1028405"/>
                  <a:gd name="csY26" fmla="*/ 501152 h 822981"/>
                  <a:gd name="csX27" fmla="*/ 815114 w 1028405"/>
                  <a:gd name="csY27" fmla="*/ 539347 h 822981"/>
                  <a:gd name="csX28" fmla="*/ 809869 w 1028405"/>
                  <a:gd name="csY28" fmla="*/ 539707 h 822981"/>
                  <a:gd name="csX29" fmla="*/ 578581 w 1028405"/>
                  <a:gd name="csY29" fmla="*/ 539707 h 822981"/>
                  <a:gd name="csX30" fmla="*/ 540026 w 1028405"/>
                  <a:gd name="csY30" fmla="*/ 501131 h 822981"/>
                  <a:gd name="csX31" fmla="*/ 573336 w 1028405"/>
                  <a:gd name="csY31" fmla="*/ 462937 h 822981"/>
                  <a:gd name="csX32" fmla="*/ 578581 w 1028405"/>
                  <a:gd name="csY32" fmla="*/ 462577 h 822981"/>
                  <a:gd name="csX33" fmla="*/ 809869 w 1028405"/>
                  <a:gd name="csY33" fmla="*/ 462577 h 822981"/>
                  <a:gd name="csX34" fmla="*/ 578581 w 1028405"/>
                  <a:gd name="csY34" fmla="*/ 462577 h 822981"/>
                  <a:gd name="csX35" fmla="*/ 308522 w 1028405"/>
                  <a:gd name="csY35" fmla="*/ 231494 h 822981"/>
                  <a:gd name="csX36" fmla="*/ 385652 w 1028405"/>
                  <a:gd name="csY36" fmla="*/ 308624 h 822981"/>
                  <a:gd name="csX37" fmla="*/ 308522 w 1028405"/>
                  <a:gd name="csY37" fmla="*/ 385755 h 822981"/>
                  <a:gd name="csX38" fmla="*/ 231391 w 1028405"/>
                  <a:gd name="csY38" fmla="*/ 308624 h 822981"/>
                  <a:gd name="csX39" fmla="*/ 308522 w 1028405"/>
                  <a:gd name="csY39" fmla="*/ 231494 h 822981"/>
                  <a:gd name="csX40" fmla="*/ 578581 w 1028405"/>
                  <a:gd name="csY40" fmla="*/ 282811 h 822981"/>
                  <a:gd name="csX41" fmla="*/ 809869 w 1028405"/>
                  <a:gd name="csY41" fmla="*/ 282811 h 822981"/>
                  <a:gd name="csX42" fmla="*/ 848424 w 1028405"/>
                  <a:gd name="csY42" fmla="*/ 321387 h 822981"/>
                  <a:gd name="csX43" fmla="*/ 815114 w 1028405"/>
                  <a:gd name="csY43" fmla="*/ 359582 h 822981"/>
                  <a:gd name="csX44" fmla="*/ 809869 w 1028405"/>
                  <a:gd name="csY44" fmla="*/ 359942 h 822981"/>
                  <a:gd name="csX45" fmla="*/ 578581 w 1028405"/>
                  <a:gd name="csY45" fmla="*/ 359942 h 822981"/>
                  <a:gd name="csX46" fmla="*/ 540026 w 1028405"/>
                  <a:gd name="csY46" fmla="*/ 321366 h 822981"/>
                  <a:gd name="csX47" fmla="*/ 573336 w 1028405"/>
                  <a:gd name="csY47" fmla="*/ 283171 h 822981"/>
                  <a:gd name="csX48" fmla="*/ 578581 w 1028405"/>
                  <a:gd name="csY48" fmla="*/ 282811 h 822981"/>
                  <a:gd name="csX49" fmla="*/ 809869 w 1028405"/>
                  <a:gd name="csY49" fmla="*/ 282811 h 822981"/>
                  <a:gd name="csX50" fmla="*/ 578581 w 1028405"/>
                  <a:gd name="csY50"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218536 w 1028405"/>
                  <a:gd name="csY18" fmla="*/ 437072 h 822981"/>
                  <a:gd name="csX19" fmla="*/ 308522 w 1028405"/>
                  <a:gd name="csY19" fmla="*/ 591384 h 822981"/>
                  <a:gd name="csX20" fmla="*/ 180382 w 1028405"/>
                  <a:gd name="csY20" fmla="*/ 506541 h 822981"/>
                  <a:gd name="csX21" fmla="*/ 179971 w 1028405"/>
                  <a:gd name="csY21" fmla="*/ 500885 h 822981"/>
                  <a:gd name="csX22" fmla="*/ 179971 w 1028405"/>
                  <a:gd name="csY22" fmla="*/ 475637 h 822981"/>
                  <a:gd name="csX23" fmla="*/ 218536 w 1028405"/>
                  <a:gd name="csY23" fmla="*/ 437072 h 822981"/>
                  <a:gd name="csX24" fmla="*/ 578581 w 1028405"/>
                  <a:gd name="csY24" fmla="*/ 462577 h 822981"/>
                  <a:gd name="csX25" fmla="*/ 809869 w 1028405"/>
                  <a:gd name="csY25" fmla="*/ 462577 h 822981"/>
                  <a:gd name="csX26" fmla="*/ 848424 w 1028405"/>
                  <a:gd name="csY26" fmla="*/ 501152 h 822981"/>
                  <a:gd name="csX27" fmla="*/ 815114 w 1028405"/>
                  <a:gd name="csY27" fmla="*/ 539347 h 822981"/>
                  <a:gd name="csX28" fmla="*/ 809869 w 1028405"/>
                  <a:gd name="csY28" fmla="*/ 539707 h 822981"/>
                  <a:gd name="csX29" fmla="*/ 578581 w 1028405"/>
                  <a:gd name="csY29" fmla="*/ 539707 h 822981"/>
                  <a:gd name="csX30" fmla="*/ 540026 w 1028405"/>
                  <a:gd name="csY30" fmla="*/ 501131 h 822981"/>
                  <a:gd name="csX31" fmla="*/ 573336 w 1028405"/>
                  <a:gd name="csY31" fmla="*/ 462937 h 822981"/>
                  <a:gd name="csX32" fmla="*/ 578581 w 1028405"/>
                  <a:gd name="csY32" fmla="*/ 462577 h 822981"/>
                  <a:gd name="csX33" fmla="*/ 809869 w 1028405"/>
                  <a:gd name="csY33" fmla="*/ 462577 h 822981"/>
                  <a:gd name="csX34" fmla="*/ 578581 w 1028405"/>
                  <a:gd name="csY34" fmla="*/ 462577 h 822981"/>
                  <a:gd name="csX35" fmla="*/ 308522 w 1028405"/>
                  <a:gd name="csY35" fmla="*/ 231494 h 822981"/>
                  <a:gd name="csX36" fmla="*/ 308522 w 1028405"/>
                  <a:gd name="csY36" fmla="*/ 385755 h 822981"/>
                  <a:gd name="csX37" fmla="*/ 231391 w 1028405"/>
                  <a:gd name="csY37" fmla="*/ 308624 h 822981"/>
                  <a:gd name="csX38" fmla="*/ 308522 w 1028405"/>
                  <a:gd name="csY38" fmla="*/ 231494 h 822981"/>
                  <a:gd name="csX39" fmla="*/ 578581 w 1028405"/>
                  <a:gd name="csY39" fmla="*/ 282811 h 822981"/>
                  <a:gd name="csX40" fmla="*/ 809869 w 1028405"/>
                  <a:gd name="csY40" fmla="*/ 282811 h 822981"/>
                  <a:gd name="csX41" fmla="*/ 848424 w 1028405"/>
                  <a:gd name="csY41" fmla="*/ 321387 h 822981"/>
                  <a:gd name="csX42" fmla="*/ 815114 w 1028405"/>
                  <a:gd name="csY42" fmla="*/ 359582 h 822981"/>
                  <a:gd name="csX43" fmla="*/ 809869 w 1028405"/>
                  <a:gd name="csY43" fmla="*/ 359942 h 822981"/>
                  <a:gd name="csX44" fmla="*/ 578581 w 1028405"/>
                  <a:gd name="csY44" fmla="*/ 359942 h 822981"/>
                  <a:gd name="csX45" fmla="*/ 540026 w 1028405"/>
                  <a:gd name="csY45" fmla="*/ 321366 h 822981"/>
                  <a:gd name="csX46" fmla="*/ 573336 w 1028405"/>
                  <a:gd name="csY46" fmla="*/ 283171 h 822981"/>
                  <a:gd name="csX47" fmla="*/ 578581 w 1028405"/>
                  <a:gd name="csY47" fmla="*/ 282811 h 822981"/>
                  <a:gd name="csX48" fmla="*/ 809869 w 1028405"/>
                  <a:gd name="csY48" fmla="*/ 282811 h 822981"/>
                  <a:gd name="csX49" fmla="*/ 578581 w 1028405"/>
                  <a:gd name="csY49"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179971 w 1028405"/>
                  <a:gd name="csY18" fmla="*/ 475637 h 822981"/>
                  <a:gd name="csX19" fmla="*/ 308522 w 1028405"/>
                  <a:gd name="csY19" fmla="*/ 591384 h 822981"/>
                  <a:gd name="csX20" fmla="*/ 180382 w 1028405"/>
                  <a:gd name="csY20" fmla="*/ 506541 h 822981"/>
                  <a:gd name="csX21" fmla="*/ 179971 w 1028405"/>
                  <a:gd name="csY21" fmla="*/ 500885 h 822981"/>
                  <a:gd name="csX22" fmla="*/ 179971 w 1028405"/>
                  <a:gd name="csY22" fmla="*/ 475637 h 822981"/>
                  <a:gd name="csX23" fmla="*/ 578581 w 1028405"/>
                  <a:gd name="csY23" fmla="*/ 462577 h 822981"/>
                  <a:gd name="csX24" fmla="*/ 809869 w 1028405"/>
                  <a:gd name="csY24" fmla="*/ 462577 h 822981"/>
                  <a:gd name="csX25" fmla="*/ 848424 w 1028405"/>
                  <a:gd name="csY25" fmla="*/ 501152 h 822981"/>
                  <a:gd name="csX26" fmla="*/ 815114 w 1028405"/>
                  <a:gd name="csY26" fmla="*/ 539347 h 822981"/>
                  <a:gd name="csX27" fmla="*/ 809869 w 1028405"/>
                  <a:gd name="csY27" fmla="*/ 539707 h 822981"/>
                  <a:gd name="csX28" fmla="*/ 578581 w 1028405"/>
                  <a:gd name="csY28" fmla="*/ 539707 h 822981"/>
                  <a:gd name="csX29" fmla="*/ 540026 w 1028405"/>
                  <a:gd name="csY29" fmla="*/ 501131 h 822981"/>
                  <a:gd name="csX30" fmla="*/ 573336 w 1028405"/>
                  <a:gd name="csY30" fmla="*/ 462937 h 822981"/>
                  <a:gd name="csX31" fmla="*/ 578581 w 1028405"/>
                  <a:gd name="csY31" fmla="*/ 462577 h 822981"/>
                  <a:gd name="csX32" fmla="*/ 809869 w 1028405"/>
                  <a:gd name="csY32" fmla="*/ 462577 h 822981"/>
                  <a:gd name="csX33" fmla="*/ 578581 w 1028405"/>
                  <a:gd name="csY33" fmla="*/ 462577 h 822981"/>
                  <a:gd name="csX34" fmla="*/ 308522 w 1028405"/>
                  <a:gd name="csY34" fmla="*/ 231494 h 822981"/>
                  <a:gd name="csX35" fmla="*/ 308522 w 1028405"/>
                  <a:gd name="csY35" fmla="*/ 385755 h 822981"/>
                  <a:gd name="csX36" fmla="*/ 231391 w 1028405"/>
                  <a:gd name="csY36" fmla="*/ 308624 h 822981"/>
                  <a:gd name="csX37" fmla="*/ 308522 w 1028405"/>
                  <a:gd name="csY37" fmla="*/ 231494 h 822981"/>
                  <a:gd name="csX38" fmla="*/ 578581 w 1028405"/>
                  <a:gd name="csY38" fmla="*/ 282811 h 822981"/>
                  <a:gd name="csX39" fmla="*/ 809869 w 1028405"/>
                  <a:gd name="csY39" fmla="*/ 282811 h 822981"/>
                  <a:gd name="csX40" fmla="*/ 848424 w 1028405"/>
                  <a:gd name="csY40" fmla="*/ 321387 h 822981"/>
                  <a:gd name="csX41" fmla="*/ 815114 w 1028405"/>
                  <a:gd name="csY41" fmla="*/ 359582 h 822981"/>
                  <a:gd name="csX42" fmla="*/ 809869 w 1028405"/>
                  <a:gd name="csY42" fmla="*/ 359942 h 822981"/>
                  <a:gd name="csX43" fmla="*/ 578581 w 1028405"/>
                  <a:gd name="csY43" fmla="*/ 359942 h 822981"/>
                  <a:gd name="csX44" fmla="*/ 540026 w 1028405"/>
                  <a:gd name="csY44" fmla="*/ 321366 h 822981"/>
                  <a:gd name="csX45" fmla="*/ 573336 w 1028405"/>
                  <a:gd name="csY45" fmla="*/ 283171 h 822981"/>
                  <a:gd name="csX46" fmla="*/ 578581 w 1028405"/>
                  <a:gd name="csY46" fmla="*/ 282811 h 822981"/>
                  <a:gd name="csX47" fmla="*/ 809869 w 1028405"/>
                  <a:gd name="csY47" fmla="*/ 282811 h 822981"/>
                  <a:gd name="csX48" fmla="*/ 578581 w 1028405"/>
                  <a:gd name="csY48"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179971 w 1028405"/>
                  <a:gd name="csY18" fmla="*/ 500885 h 822981"/>
                  <a:gd name="csX19" fmla="*/ 308522 w 1028405"/>
                  <a:gd name="csY19" fmla="*/ 591384 h 822981"/>
                  <a:gd name="csX20" fmla="*/ 180382 w 1028405"/>
                  <a:gd name="csY20" fmla="*/ 506541 h 822981"/>
                  <a:gd name="csX21" fmla="*/ 179971 w 1028405"/>
                  <a:gd name="csY21" fmla="*/ 500885 h 822981"/>
                  <a:gd name="csX22" fmla="*/ 578581 w 1028405"/>
                  <a:gd name="csY22" fmla="*/ 462577 h 822981"/>
                  <a:gd name="csX23" fmla="*/ 809869 w 1028405"/>
                  <a:gd name="csY23" fmla="*/ 462577 h 822981"/>
                  <a:gd name="csX24" fmla="*/ 848424 w 1028405"/>
                  <a:gd name="csY24" fmla="*/ 501152 h 822981"/>
                  <a:gd name="csX25" fmla="*/ 815114 w 1028405"/>
                  <a:gd name="csY25" fmla="*/ 539347 h 822981"/>
                  <a:gd name="csX26" fmla="*/ 809869 w 1028405"/>
                  <a:gd name="csY26" fmla="*/ 539707 h 822981"/>
                  <a:gd name="csX27" fmla="*/ 578581 w 1028405"/>
                  <a:gd name="csY27" fmla="*/ 539707 h 822981"/>
                  <a:gd name="csX28" fmla="*/ 540026 w 1028405"/>
                  <a:gd name="csY28" fmla="*/ 501131 h 822981"/>
                  <a:gd name="csX29" fmla="*/ 573336 w 1028405"/>
                  <a:gd name="csY29" fmla="*/ 462937 h 822981"/>
                  <a:gd name="csX30" fmla="*/ 578581 w 1028405"/>
                  <a:gd name="csY30" fmla="*/ 462577 h 822981"/>
                  <a:gd name="csX31" fmla="*/ 809869 w 1028405"/>
                  <a:gd name="csY31" fmla="*/ 462577 h 822981"/>
                  <a:gd name="csX32" fmla="*/ 578581 w 1028405"/>
                  <a:gd name="csY32" fmla="*/ 462577 h 822981"/>
                  <a:gd name="csX33" fmla="*/ 308522 w 1028405"/>
                  <a:gd name="csY33" fmla="*/ 231494 h 822981"/>
                  <a:gd name="csX34" fmla="*/ 308522 w 1028405"/>
                  <a:gd name="csY34" fmla="*/ 385755 h 822981"/>
                  <a:gd name="csX35" fmla="*/ 231391 w 1028405"/>
                  <a:gd name="csY35" fmla="*/ 308624 h 822981"/>
                  <a:gd name="csX36" fmla="*/ 308522 w 1028405"/>
                  <a:gd name="csY36" fmla="*/ 231494 h 822981"/>
                  <a:gd name="csX37" fmla="*/ 578581 w 1028405"/>
                  <a:gd name="csY37" fmla="*/ 282811 h 822981"/>
                  <a:gd name="csX38" fmla="*/ 809869 w 1028405"/>
                  <a:gd name="csY38" fmla="*/ 282811 h 822981"/>
                  <a:gd name="csX39" fmla="*/ 848424 w 1028405"/>
                  <a:gd name="csY39" fmla="*/ 321387 h 822981"/>
                  <a:gd name="csX40" fmla="*/ 815114 w 1028405"/>
                  <a:gd name="csY40" fmla="*/ 359582 h 822981"/>
                  <a:gd name="csX41" fmla="*/ 809869 w 1028405"/>
                  <a:gd name="csY41" fmla="*/ 359942 h 822981"/>
                  <a:gd name="csX42" fmla="*/ 578581 w 1028405"/>
                  <a:gd name="csY42" fmla="*/ 359942 h 822981"/>
                  <a:gd name="csX43" fmla="*/ 540026 w 1028405"/>
                  <a:gd name="csY43" fmla="*/ 321366 h 822981"/>
                  <a:gd name="csX44" fmla="*/ 573336 w 1028405"/>
                  <a:gd name="csY44" fmla="*/ 283171 h 822981"/>
                  <a:gd name="csX45" fmla="*/ 578581 w 1028405"/>
                  <a:gd name="csY45" fmla="*/ 282811 h 822981"/>
                  <a:gd name="csX46" fmla="*/ 809869 w 1028405"/>
                  <a:gd name="csY46" fmla="*/ 282811 h 822981"/>
                  <a:gd name="csX47" fmla="*/ 578581 w 1028405"/>
                  <a:gd name="csY47"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180382 w 1028405"/>
                  <a:gd name="csY18" fmla="*/ 506541 h 822981"/>
                  <a:gd name="csX19" fmla="*/ 308522 w 1028405"/>
                  <a:gd name="csY19" fmla="*/ 591384 h 822981"/>
                  <a:gd name="csX20" fmla="*/ 180382 w 1028405"/>
                  <a:gd name="csY20" fmla="*/ 506541 h 822981"/>
                  <a:gd name="csX21" fmla="*/ 578581 w 1028405"/>
                  <a:gd name="csY21" fmla="*/ 462577 h 822981"/>
                  <a:gd name="csX22" fmla="*/ 809869 w 1028405"/>
                  <a:gd name="csY22" fmla="*/ 462577 h 822981"/>
                  <a:gd name="csX23" fmla="*/ 848424 w 1028405"/>
                  <a:gd name="csY23" fmla="*/ 501152 h 822981"/>
                  <a:gd name="csX24" fmla="*/ 815114 w 1028405"/>
                  <a:gd name="csY24" fmla="*/ 539347 h 822981"/>
                  <a:gd name="csX25" fmla="*/ 809869 w 1028405"/>
                  <a:gd name="csY25" fmla="*/ 539707 h 822981"/>
                  <a:gd name="csX26" fmla="*/ 578581 w 1028405"/>
                  <a:gd name="csY26" fmla="*/ 539707 h 822981"/>
                  <a:gd name="csX27" fmla="*/ 540026 w 1028405"/>
                  <a:gd name="csY27" fmla="*/ 501131 h 822981"/>
                  <a:gd name="csX28" fmla="*/ 573336 w 1028405"/>
                  <a:gd name="csY28" fmla="*/ 462937 h 822981"/>
                  <a:gd name="csX29" fmla="*/ 578581 w 1028405"/>
                  <a:gd name="csY29" fmla="*/ 462577 h 822981"/>
                  <a:gd name="csX30" fmla="*/ 809869 w 1028405"/>
                  <a:gd name="csY30" fmla="*/ 462577 h 822981"/>
                  <a:gd name="csX31" fmla="*/ 578581 w 1028405"/>
                  <a:gd name="csY31" fmla="*/ 462577 h 822981"/>
                  <a:gd name="csX32" fmla="*/ 308522 w 1028405"/>
                  <a:gd name="csY32" fmla="*/ 231494 h 822981"/>
                  <a:gd name="csX33" fmla="*/ 308522 w 1028405"/>
                  <a:gd name="csY33" fmla="*/ 385755 h 822981"/>
                  <a:gd name="csX34" fmla="*/ 231391 w 1028405"/>
                  <a:gd name="csY34" fmla="*/ 308624 h 822981"/>
                  <a:gd name="csX35" fmla="*/ 308522 w 1028405"/>
                  <a:gd name="csY35" fmla="*/ 231494 h 822981"/>
                  <a:gd name="csX36" fmla="*/ 578581 w 1028405"/>
                  <a:gd name="csY36" fmla="*/ 282811 h 822981"/>
                  <a:gd name="csX37" fmla="*/ 809869 w 1028405"/>
                  <a:gd name="csY37" fmla="*/ 282811 h 822981"/>
                  <a:gd name="csX38" fmla="*/ 848424 w 1028405"/>
                  <a:gd name="csY38" fmla="*/ 321387 h 822981"/>
                  <a:gd name="csX39" fmla="*/ 815114 w 1028405"/>
                  <a:gd name="csY39" fmla="*/ 359582 h 822981"/>
                  <a:gd name="csX40" fmla="*/ 809869 w 1028405"/>
                  <a:gd name="csY40" fmla="*/ 359942 h 822981"/>
                  <a:gd name="csX41" fmla="*/ 578581 w 1028405"/>
                  <a:gd name="csY41" fmla="*/ 359942 h 822981"/>
                  <a:gd name="csX42" fmla="*/ 540026 w 1028405"/>
                  <a:gd name="csY42" fmla="*/ 321366 h 822981"/>
                  <a:gd name="csX43" fmla="*/ 573336 w 1028405"/>
                  <a:gd name="csY43" fmla="*/ 283171 h 822981"/>
                  <a:gd name="csX44" fmla="*/ 578581 w 1028405"/>
                  <a:gd name="csY44" fmla="*/ 282811 h 822981"/>
                  <a:gd name="csX45" fmla="*/ 809869 w 1028405"/>
                  <a:gd name="csY45" fmla="*/ 282811 h 822981"/>
                  <a:gd name="csX46" fmla="*/ 578581 w 1028405"/>
                  <a:gd name="csY46"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578581 w 1028405"/>
                  <a:gd name="csY18" fmla="*/ 462577 h 822981"/>
                  <a:gd name="csX19" fmla="*/ 809869 w 1028405"/>
                  <a:gd name="csY19" fmla="*/ 462577 h 822981"/>
                  <a:gd name="csX20" fmla="*/ 848424 w 1028405"/>
                  <a:gd name="csY20" fmla="*/ 501152 h 822981"/>
                  <a:gd name="csX21" fmla="*/ 815114 w 1028405"/>
                  <a:gd name="csY21" fmla="*/ 539347 h 822981"/>
                  <a:gd name="csX22" fmla="*/ 809869 w 1028405"/>
                  <a:gd name="csY22" fmla="*/ 539707 h 822981"/>
                  <a:gd name="csX23" fmla="*/ 578581 w 1028405"/>
                  <a:gd name="csY23" fmla="*/ 539707 h 822981"/>
                  <a:gd name="csX24" fmla="*/ 540026 w 1028405"/>
                  <a:gd name="csY24" fmla="*/ 501131 h 822981"/>
                  <a:gd name="csX25" fmla="*/ 573336 w 1028405"/>
                  <a:gd name="csY25" fmla="*/ 462937 h 822981"/>
                  <a:gd name="csX26" fmla="*/ 578581 w 1028405"/>
                  <a:gd name="csY26" fmla="*/ 462577 h 822981"/>
                  <a:gd name="csX27" fmla="*/ 809869 w 1028405"/>
                  <a:gd name="csY27" fmla="*/ 462577 h 822981"/>
                  <a:gd name="csX28" fmla="*/ 578581 w 1028405"/>
                  <a:gd name="csY28" fmla="*/ 462577 h 822981"/>
                  <a:gd name="csX29" fmla="*/ 308522 w 1028405"/>
                  <a:gd name="csY29" fmla="*/ 231494 h 822981"/>
                  <a:gd name="csX30" fmla="*/ 308522 w 1028405"/>
                  <a:gd name="csY30" fmla="*/ 385755 h 822981"/>
                  <a:gd name="csX31" fmla="*/ 231391 w 1028405"/>
                  <a:gd name="csY31" fmla="*/ 308624 h 822981"/>
                  <a:gd name="csX32" fmla="*/ 308522 w 1028405"/>
                  <a:gd name="csY32" fmla="*/ 231494 h 822981"/>
                  <a:gd name="csX33" fmla="*/ 578581 w 1028405"/>
                  <a:gd name="csY33" fmla="*/ 282811 h 822981"/>
                  <a:gd name="csX34" fmla="*/ 809869 w 1028405"/>
                  <a:gd name="csY34" fmla="*/ 282811 h 822981"/>
                  <a:gd name="csX35" fmla="*/ 848424 w 1028405"/>
                  <a:gd name="csY35" fmla="*/ 321387 h 822981"/>
                  <a:gd name="csX36" fmla="*/ 815114 w 1028405"/>
                  <a:gd name="csY36" fmla="*/ 359582 h 822981"/>
                  <a:gd name="csX37" fmla="*/ 809869 w 1028405"/>
                  <a:gd name="csY37" fmla="*/ 359942 h 822981"/>
                  <a:gd name="csX38" fmla="*/ 578581 w 1028405"/>
                  <a:gd name="csY38" fmla="*/ 359942 h 822981"/>
                  <a:gd name="csX39" fmla="*/ 540026 w 1028405"/>
                  <a:gd name="csY39" fmla="*/ 321366 h 822981"/>
                  <a:gd name="csX40" fmla="*/ 573336 w 1028405"/>
                  <a:gd name="csY40" fmla="*/ 283171 h 822981"/>
                  <a:gd name="csX41" fmla="*/ 578581 w 1028405"/>
                  <a:gd name="csY41" fmla="*/ 282811 h 822981"/>
                  <a:gd name="csX42" fmla="*/ 809869 w 1028405"/>
                  <a:gd name="csY42" fmla="*/ 282811 h 822981"/>
                  <a:gd name="csX43" fmla="*/ 578581 w 1028405"/>
                  <a:gd name="csY43"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578581 w 1028405"/>
                  <a:gd name="csY18" fmla="*/ 462577 h 822981"/>
                  <a:gd name="csX19" fmla="*/ 809869 w 1028405"/>
                  <a:gd name="csY19" fmla="*/ 462577 h 822981"/>
                  <a:gd name="csX20" fmla="*/ 848424 w 1028405"/>
                  <a:gd name="csY20" fmla="*/ 501152 h 822981"/>
                  <a:gd name="csX21" fmla="*/ 815114 w 1028405"/>
                  <a:gd name="csY21" fmla="*/ 539347 h 822981"/>
                  <a:gd name="csX22" fmla="*/ 809869 w 1028405"/>
                  <a:gd name="csY22" fmla="*/ 539707 h 822981"/>
                  <a:gd name="csX23" fmla="*/ 578581 w 1028405"/>
                  <a:gd name="csY23" fmla="*/ 539707 h 822981"/>
                  <a:gd name="csX24" fmla="*/ 540026 w 1028405"/>
                  <a:gd name="csY24" fmla="*/ 501131 h 822981"/>
                  <a:gd name="csX25" fmla="*/ 573336 w 1028405"/>
                  <a:gd name="csY25" fmla="*/ 462937 h 822981"/>
                  <a:gd name="csX26" fmla="*/ 578581 w 1028405"/>
                  <a:gd name="csY26" fmla="*/ 462577 h 822981"/>
                  <a:gd name="csX27" fmla="*/ 809869 w 1028405"/>
                  <a:gd name="csY27" fmla="*/ 462577 h 822981"/>
                  <a:gd name="csX28" fmla="*/ 578581 w 1028405"/>
                  <a:gd name="csY28" fmla="*/ 462577 h 822981"/>
                  <a:gd name="csX29" fmla="*/ 308522 w 1028405"/>
                  <a:gd name="csY29" fmla="*/ 231494 h 822981"/>
                  <a:gd name="csX30" fmla="*/ 231391 w 1028405"/>
                  <a:gd name="csY30" fmla="*/ 308624 h 822981"/>
                  <a:gd name="csX31" fmla="*/ 308522 w 1028405"/>
                  <a:gd name="csY31" fmla="*/ 231494 h 822981"/>
                  <a:gd name="csX32" fmla="*/ 578581 w 1028405"/>
                  <a:gd name="csY32" fmla="*/ 282811 h 822981"/>
                  <a:gd name="csX33" fmla="*/ 809869 w 1028405"/>
                  <a:gd name="csY33" fmla="*/ 282811 h 822981"/>
                  <a:gd name="csX34" fmla="*/ 848424 w 1028405"/>
                  <a:gd name="csY34" fmla="*/ 321387 h 822981"/>
                  <a:gd name="csX35" fmla="*/ 815114 w 1028405"/>
                  <a:gd name="csY35" fmla="*/ 359582 h 822981"/>
                  <a:gd name="csX36" fmla="*/ 809869 w 1028405"/>
                  <a:gd name="csY36" fmla="*/ 359942 h 822981"/>
                  <a:gd name="csX37" fmla="*/ 578581 w 1028405"/>
                  <a:gd name="csY37" fmla="*/ 359942 h 822981"/>
                  <a:gd name="csX38" fmla="*/ 540026 w 1028405"/>
                  <a:gd name="csY38" fmla="*/ 321366 h 822981"/>
                  <a:gd name="csX39" fmla="*/ 573336 w 1028405"/>
                  <a:gd name="csY39" fmla="*/ 283171 h 822981"/>
                  <a:gd name="csX40" fmla="*/ 578581 w 1028405"/>
                  <a:gd name="csY40" fmla="*/ 282811 h 822981"/>
                  <a:gd name="csX41" fmla="*/ 809869 w 1028405"/>
                  <a:gd name="csY41" fmla="*/ 282811 h 822981"/>
                  <a:gd name="csX42" fmla="*/ 578581 w 1028405"/>
                  <a:gd name="csY42" fmla="*/ 282811 h 822981"/>
                  <a:gd name="csX0" fmla="*/ 912709 w 1028405"/>
                  <a:gd name="csY0" fmla="*/ 0 h 822981"/>
                  <a:gd name="csX1" fmla="*/ 1028405 w 1028405"/>
                  <a:gd name="csY1" fmla="*/ 115696 h 822981"/>
                  <a:gd name="csX2" fmla="*/ 1028405 w 1028405"/>
                  <a:gd name="csY2" fmla="*/ 707286 h 822981"/>
                  <a:gd name="csX3" fmla="*/ 912709 w 1028405"/>
                  <a:gd name="csY3" fmla="*/ 822981 h 822981"/>
                  <a:gd name="csX4" fmla="*/ 115696 w 1028405"/>
                  <a:gd name="csY4" fmla="*/ 822981 h 822981"/>
                  <a:gd name="csX5" fmla="*/ 0 w 1028405"/>
                  <a:gd name="csY5" fmla="*/ 707286 h 822981"/>
                  <a:gd name="csX6" fmla="*/ 0 w 1028405"/>
                  <a:gd name="csY6" fmla="*/ 115696 h 822981"/>
                  <a:gd name="csX7" fmla="*/ 115696 w 1028405"/>
                  <a:gd name="csY7" fmla="*/ 0 h 822981"/>
                  <a:gd name="csX8" fmla="*/ 912709 w 1028405"/>
                  <a:gd name="csY8" fmla="*/ 0 h 822981"/>
                  <a:gd name="csX9" fmla="*/ 912709 w 1028405"/>
                  <a:gd name="csY9" fmla="*/ 77130 h 822981"/>
                  <a:gd name="csX10" fmla="*/ 115696 w 1028405"/>
                  <a:gd name="csY10" fmla="*/ 77130 h 822981"/>
                  <a:gd name="csX11" fmla="*/ 77130 w 1028405"/>
                  <a:gd name="csY11" fmla="*/ 115696 h 822981"/>
                  <a:gd name="csX12" fmla="*/ 77130 w 1028405"/>
                  <a:gd name="csY12" fmla="*/ 707286 h 822981"/>
                  <a:gd name="csX13" fmla="*/ 115696 w 1028405"/>
                  <a:gd name="csY13" fmla="*/ 745851 h 822981"/>
                  <a:gd name="csX14" fmla="*/ 912709 w 1028405"/>
                  <a:gd name="csY14" fmla="*/ 745851 h 822981"/>
                  <a:gd name="csX15" fmla="*/ 951275 w 1028405"/>
                  <a:gd name="csY15" fmla="*/ 707286 h 822981"/>
                  <a:gd name="csX16" fmla="*/ 951275 w 1028405"/>
                  <a:gd name="csY16" fmla="*/ 115696 h 822981"/>
                  <a:gd name="csX17" fmla="*/ 912709 w 1028405"/>
                  <a:gd name="csY17" fmla="*/ 77130 h 822981"/>
                  <a:gd name="csX18" fmla="*/ 578581 w 1028405"/>
                  <a:gd name="csY18" fmla="*/ 462577 h 822981"/>
                  <a:gd name="csX19" fmla="*/ 809869 w 1028405"/>
                  <a:gd name="csY19" fmla="*/ 462577 h 822981"/>
                  <a:gd name="csX20" fmla="*/ 848424 w 1028405"/>
                  <a:gd name="csY20" fmla="*/ 501152 h 822981"/>
                  <a:gd name="csX21" fmla="*/ 815114 w 1028405"/>
                  <a:gd name="csY21" fmla="*/ 539347 h 822981"/>
                  <a:gd name="csX22" fmla="*/ 809869 w 1028405"/>
                  <a:gd name="csY22" fmla="*/ 539707 h 822981"/>
                  <a:gd name="csX23" fmla="*/ 578581 w 1028405"/>
                  <a:gd name="csY23" fmla="*/ 539707 h 822981"/>
                  <a:gd name="csX24" fmla="*/ 540026 w 1028405"/>
                  <a:gd name="csY24" fmla="*/ 501131 h 822981"/>
                  <a:gd name="csX25" fmla="*/ 573336 w 1028405"/>
                  <a:gd name="csY25" fmla="*/ 462937 h 822981"/>
                  <a:gd name="csX26" fmla="*/ 578581 w 1028405"/>
                  <a:gd name="csY26" fmla="*/ 462577 h 822981"/>
                  <a:gd name="csX27" fmla="*/ 809869 w 1028405"/>
                  <a:gd name="csY27" fmla="*/ 462577 h 822981"/>
                  <a:gd name="csX28" fmla="*/ 578581 w 1028405"/>
                  <a:gd name="csY28" fmla="*/ 462577 h 822981"/>
                  <a:gd name="csX29" fmla="*/ 578581 w 1028405"/>
                  <a:gd name="csY29" fmla="*/ 282811 h 822981"/>
                  <a:gd name="csX30" fmla="*/ 809869 w 1028405"/>
                  <a:gd name="csY30" fmla="*/ 282811 h 822981"/>
                  <a:gd name="csX31" fmla="*/ 848424 w 1028405"/>
                  <a:gd name="csY31" fmla="*/ 321387 h 822981"/>
                  <a:gd name="csX32" fmla="*/ 815114 w 1028405"/>
                  <a:gd name="csY32" fmla="*/ 359582 h 822981"/>
                  <a:gd name="csX33" fmla="*/ 809869 w 1028405"/>
                  <a:gd name="csY33" fmla="*/ 359942 h 822981"/>
                  <a:gd name="csX34" fmla="*/ 578581 w 1028405"/>
                  <a:gd name="csY34" fmla="*/ 359942 h 822981"/>
                  <a:gd name="csX35" fmla="*/ 540026 w 1028405"/>
                  <a:gd name="csY35" fmla="*/ 321366 h 822981"/>
                  <a:gd name="csX36" fmla="*/ 573336 w 1028405"/>
                  <a:gd name="csY36" fmla="*/ 283171 h 822981"/>
                  <a:gd name="csX37" fmla="*/ 578581 w 1028405"/>
                  <a:gd name="csY37" fmla="*/ 282811 h 822981"/>
                  <a:gd name="csX38" fmla="*/ 809869 w 1028405"/>
                  <a:gd name="csY38" fmla="*/ 282811 h 822981"/>
                  <a:gd name="csX39" fmla="*/ 578581 w 1028405"/>
                  <a:gd name="csY39" fmla="*/ 282811 h 822981"/>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 ang="0">
                    <a:pos x="csX13" y="csY13"/>
                  </a:cxn>
                  <a:cxn ang="0">
                    <a:pos x="csX14" y="csY14"/>
                  </a:cxn>
                  <a:cxn ang="0">
                    <a:pos x="csX15" y="csY15"/>
                  </a:cxn>
                  <a:cxn ang="0">
                    <a:pos x="csX16" y="csY16"/>
                  </a:cxn>
                  <a:cxn ang="0">
                    <a:pos x="csX17" y="csY17"/>
                  </a:cxn>
                  <a:cxn ang="0">
                    <a:pos x="csX18" y="csY18"/>
                  </a:cxn>
                  <a:cxn ang="0">
                    <a:pos x="csX19" y="csY19"/>
                  </a:cxn>
                  <a:cxn ang="0">
                    <a:pos x="csX20" y="csY20"/>
                  </a:cxn>
                  <a:cxn ang="0">
                    <a:pos x="csX21" y="csY21"/>
                  </a:cxn>
                  <a:cxn ang="0">
                    <a:pos x="csX22" y="csY22"/>
                  </a:cxn>
                  <a:cxn ang="0">
                    <a:pos x="csX23" y="csY23"/>
                  </a:cxn>
                  <a:cxn ang="0">
                    <a:pos x="csX24" y="csY24"/>
                  </a:cxn>
                  <a:cxn ang="0">
                    <a:pos x="csX25" y="csY25"/>
                  </a:cxn>
                  <a:cxn ang="0">
                    <a:pos x="csX26" y="csY26"/>
                  </a:cxn>
                  <a:cxn ang="0">
                    <a:pos x="csX27" y="csY27"/>
                  </a:cxn>
                  <a:cxn ang="0">
                    <a:pos x="csX28" y="csY28"/>
                  </a:cxn>
                  <a:cxn ang="0">
                    <a:pos x="csX29" y="csY29"/>
                  </a:cxn>
                  <a:cxn ang="0">
                    <a:pos x="csX30" y="csY30"/>
                  </a:cxn>
                  <a:cxn ang="0">
                    <a:pos x="csX31" y="csY31"/>
                  </a:cxn>
                  <a:cxn ang="0">
                    <a:pos x="csX32" y="csY32"/>
                  </a:cxn>
                  <a:cxn ang="0">
                    <a:pos x="csX33" y="csY33"/>
                  </a:cxn>
                  <a:cxn ang="0">
                    <a:pos x="csX34" y="csY34"/>
                  </a:cxn>
                  <a:cxn ang="0">
                    <a:pos x="csX35" y="csY35"/>
                  </a:cxn>
                  <a:cxn ang="0">
                    <a:pos x="csX36" y="csY36"/>
                  </a:cxn>
                  <a:cxn ang="0">
                    <a:pos x="csX37" y="csY37"/>
                  </a:cxn>
                  <a:cxn ang="0">
                    <a:pos x="csX38" y="csY38"/>
                  </a:cxn>
                  <a:cxn ang="0">
                    <a:pos x="csX39" y="csY39"/>
                  </a:cxn>
                </a:cxnLst>
                <a:rect l="l" t="t" r="r" b="b"/>
                <a:pathLst>
                  <a:path w="1028405" h="822981">
                    <a:moveTo>
                      <a:pt x="912709" y="0"/>
                    </a:moveTo>
                    <a:cubicBezTo>
                      <a:pt x="976604" y="0"/>
                      <a:pt x="1028405" y="51799"/>
                      <a:pt x="1028405" y="115696"/>
                    </a:cubicBezTo>
                    <a:lnTo>
                      <a:pt x="1028405" y="707286"/>
                    </a:lnTo>
                    <a:cubicBezTo>
                      <a:pt x="1028405" y="771180"/>
                      <a:pt x="976604" y="822981"/>
                      <a:pt x="912709" y="822981"/>
                    </a:cubicBezTo>
                    <a:lnTo>
                      <a:pt x="115696" y="822981"/>
                    </a:lnTo>
                    <a:cubicBezTo>
                      <a:pt x="51799" y="822981"/>
                      <a:pt x="0" y="771180"/>
                      <a:pt x="0" y="707286"/>
                    </a:cubicBezTo>
                    <a:lnTo>
                      <a:pt x="0" y="115696"/>
                    </a:lnTo>
                    <a:cubicBezTo>
                      <a:pt x="0" y="51799"/>
                      <a:pt x="51799" y="0"/>
                      <a:pt x="115696" y="0"/>
                    </a:cubicBezTo>
                    <a:lnTo>
                      <a:pt x="912709" y="0"/>
                    </a:lnTo>
                    <a:close/>
                    <a:moveTo>
                      <a:pt x="912709" y="77130"/>
                    </a:moveTo>
                    <a:lnTo>
                      <a:pt x="115696" y="77130"/>
                    </a:lnTo>
                    <a:cubicBezTo>
                      <a:pt x="94397" y="77130"/>
                      <a:pt x="77130" y="94397"/>
                      <a:pt x="77130" y="115696"/>
                    </a:cubicBezTo>
                    <a:lnTo>
                      <a:pt x="77130" y="707286"/>
                    </a:lnTo>
                    <a:cubicBezTo>
                      <a:pt x="77130" y="728574"/>
                      <a:pt x="94408" y="745851"/>
                      <a:pt x="115696" y="745851"/>
                    </a:cubicBezTo>
                    <a:lnTo>
                      <a:pt x="912709" y="745851"/>
                    </a:lnTo>
                    <a:cubicBezTo>
                      <a:pt x="934008" y="745851"/>
                      <a:pt x="951275" y="728584"/>
                      <a:pt x="951275" y="707286"/>
                    </a:cubicBezTo>
                    <a:lnTo>
                      <a:pt x="951275" y="115696"/>
                    </a:lnTo>
                    <a:cubicBezTo>
                      <a:pt x="951275" y="94397"/>
                      <a:pt x="934008" y="77130"/>
                      <a:pt x="912709" y="77130"/>
                    </a:cubicBezTo>
                    <a:close/>
                    <a:moveTo>
                      <a:pt x="578581" y="462577"/>
                    </a:moveTo>
                    <a:lnTo>
                      <a:pt x="809869" y="462577"/>
                    </a:lnTo>
                    <a:cubicBezTo>
                      <a:pt x="831167" y="462582"/>
                      <a:pt x="848429" y="479854"/>
                      <a:pt x="848424" y="501152"/>
                    </a:cubicBezTo>
                    <a:cubicBezTo>
                      <a:pt x="848419" y="520419"/>
                      <a:pt x="834196" y="536719"/>
                      <a:pt x="815114" y="539347"/>
                    </a:cubicBezTo>
                    <a:lnTo>
                      <a:pt x="809869" y="539707"/>
                    </a:lnTo>
                    <a:lnTo>
                      <a:pt x="578581" y="539707"/>
                    </a:lnTo>
                    <a:cubicBezTo>
                      <a:pt x="557282" y="539702"/>
                      <a:pt x="540021" y="522430"/>
                      <a:pt x="540026" y="501131"/>
                    </a:cubicBezTo>
                    <a:cubicBezTo>
                      <a:pt x="540031" y="481864"/>
                      <a:pt x="554254" y="465564"/>
                      <a:pt x="573336" y="462937"/>
                    </a:cubicBezTo>
                    <a:lnTo>
                      <a:pt x="578581" y="462577"/>
                    </a:lnTo>
                    <a:lnTo>
                      <a:pt x="809869" y="462577"/>
                    </a:lnTo>
                    <a:lnTo>
                      <a:pt x="578581" y="462577"/>
                    </a:lnTo>
                    <a:close/>
                    <a:moveTo>
                      <a:pt x="578581" y="282811"/>
                    </a:moveTo>
                    <a:lnTo>
                      <a:pt x="809869" y="282811"/>
                    </a:lnTo>
                    <a:cubicBezTo>
                      <a:pt x="831167" y="282818"/>
                      <a:pt x="848429" y="300090"/>
                      <a:pt x="848424" y="321387"/>
                    </a:cubicBezTo>
                    <a:cubicBezTo>
                      <a:pt x="848419" y="340654"/>
                      <a:pt x="834196" y="356954"/>
                      <a:pt x="815114" y="359582"/>
                    </a:cubicBezTo>
                    <a:lnTo>
                      <a:pt x="809869" y="359942"/>
                    </a:lnTo>
                    <a:lnTo>
                      <a:pt x="578581" y="359942"/>
                    </a:lnTo>
                    <a:cubicBezTo>
                      <a:pt x="557282" y="359937"/>
                      <a:pt x="540021" y="342665"/>
                      <a:pt x="540026" y="321366"/>
                    </a:cubicBezTo>
                    <a:cubicBezTo>
                      <a:pt x="540031" y="302102"/>
                      <a:pt x="554254" y="285797"/>
                      <a:pt x="573336" y="283171"/>
                    </a:cubicBezTo>
                    <a:lnTo>
                      <a:pt x="578581" y="282811"/>
                    </a:lnTo>
                    <a:lnTo>
                      <a:pt x="809869" y="282811"/>
                    </a:lnTo>
                    <a:lnTo>
                      <a:pt x="578581" y="282811"/>
                    </a:lnTo>
                    <a:close/>
                  </a:path>
                </a:pathLst>
              </a:custGeom>
              <a:grpFill/>
              <a:ln w="54372"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B44B1"/>
                  </a:solidFill>
                  <a:effectLst/>
                  <a:uLnTx/>
                  <a:uFillTx/>
                  <a:latin typeface="Segoe Sans Display"/>
                  <a:ea typeface="+mn-ea"/>
                  <a:cs typeface="+mn-cs"/>
                </a:endParaRPr>
              </a:p>
            </p:txBody>
          </p:sp>
          <p:sp>
            <p:nvSpPr>
              <p:cNvPr id="28" name="Graphic 8">
                <a:extLst>
                  <a:ext uri="{FF2B5EF4-FFF2-40B4-BE49-F238E27FC236}">
                    <a16:creationId xmlns:a16="http://schemas.microsoft.com/office/drawing/2014/main" id="{840541D4-1724-F91C-F988-1F98176E983A}"/>
                  </a:ext>
                </a:extLst>
              </p:cNvPr>
              <p:cNvSpPr/>
              <p:nvPr/>
            </p:nvSpPr>
            <p:spPr>
              <a:xfrm>
                <a:off x="11909015" y="9525446"/>
                <a:ext cx="279030" cy="244940"/>
              </a:xfrm>
              <a:custGeom>
                <a:avLst/>
                <a:gdLst>
                  <a:gd name="csX0" fmla="*/ 254649 w 349850"/>
                  <a:gd name="csY0" fmla="*/ 0 h 307106"/>
                  <a:gd name="csX1" fmla="*/ 95178 w 349850"/>
                  <a:gd name="csY1" fmla="*/ 0 h 307106"/>
                  <a:gd name="csX2" fmla="*/ 81796 w 349850"/>
                  <a:gd name="csY2" fmla="*/ 7724 h 307106"/>
                  <a:gd name="csX3" fmla="*/ 2073 w 349850"/>
                  <a:gd name="csY3" fmla="*/ 145829 h 307106"/>
                  <a:gd name="csX4" fmla="*/ 2073 w 349850"/>
                  <a:gd name="csY4" fmla="*/ 161278 h 307106"/>
                  <a:gd name="csX5" fmla="*/ 81808 w 349850"/>
                  <a:gd name="csY5" fmla="*/ 299382 h 307106"/>
                  <a:gd name="csX6" fmla="*/ 95190 w 349850"/>
                  <a:gd name="csY6" fmla="*/ 307107 h 307106"/>
                  <a:gd name="csX7" fmla="*/ 254661 w 349850"/>
                  <a:gd name="csY7" fmla="*/ 307107 h 307106"/>
                  <a:gd name="csX8" fmla="*/ 268042 w 349850"/>
                  <a:gd name="csY8" fmla="*/ 299382 h 307106"/>
                  <a:gd name="csX9" fmla="*/ 347778 w 349850"/>
                  <a:gd name="csY9" fmla="*/ 161278 h 307106"/>
                  <a:gd name="csX10" fmla="*/ 347778 w 349850"/>
                  <a:gd name="csY10" fmla="*/ 145829 h 307106"/>
                  <a:gd name="csX11" fmla="*/ 268019 w 349850"/>
                  <a:gd name="csY11" fmla="*/ 7724 h 307106"/>
                  <a:gd name="csX12" fmla="*/ 254637 w 349850"/>
                  <a:gd name="csY12" fmla="*/ 0 h 307106"/>
                </a:gdLst>
                <a:ahLst/>
                <a:cxnLst>
                  <a:cxn ang="0">
                    <a:pos x="csX0" y="csY0"/>
                  </a:cxn>
                  <a:cxn ang="0">
                    <a:pos x="csX1" y="csY1"/>
                  </a:cxn>
                  <a:cxn ang="0">
                    <a:pos x="csX2" y="csY2"/>
                  </a:cxn>
                  <a:cxn ang="0">
                    <a:pos x="csX3" y="csY3"/>
                  </a:cxn>
                  <a:cxn ang="0">
                    <a:pos x="csX4" y="csY4"/>
                  </a:cxn>
                  <a:cxn ang="0">
                    <a:pos x="csX5" y="csY5"/>
                  </a:cxn>
                  <a:cxn ang="0">
                    <a:pos x="csX6" y="csY6"/>
                  </a:cxn>
                  <a:cxn ang="0">
                    <a:pos x="csX7" y="csY7"/>
                  </a:cxn>
                  <a:cxn ang="0">
                    <a:pos x="csX8" y="csY8"/>
                  </a:cxn>
                  <a:cxn ang="0">
                    <a:pos x="csX9" y="csY9"/>
                  </a:cxn>
                  <a:cxn ang="0">
                    <a:pos x="csX10" y="csY10"/>
                  </a:cxn>
                  <a:cxn ang="0">
                    <a:pos x="csX11" y="csY11"/>
                  </a:cxn>
                  <a:cxn ang="0">
                    <a:pos x="csX12" y="csY12"/>
                  </a:cxn>
                </a:cxnLst>
                <a:rect l="l" t="t" r="r" b="b"/>
                <a:pathLst>
                  <a:path w="349850" h="307106">
                    <a:moveTo>
                      <a:pt x="254649" y="0"/>
                    </a:moveTo>
                    <a:lnTo>
                      <a:pt x="95178" y="0"/>
                    </a:lnTo>
                    <a:cubicBezTo>
                      <a:pt x="89662" y="0"/>
                      <a:pt x="84560" y="2941"/>
                      <a:pt x="81796" y="7724"/>
                    </a:cubicBezTo>
                    <a:lnTo>
                      <a:pt x="2073" y="145829"/>
                    </a:lnTo>
                    <a:cubicBezTo>
                      <a:pt x="-691" y="150612"/>
                      <a:pt x="-691" y="156494"/>
                      <a:pt x="2073" y="161278"/>
                    </a:cubicBezTo>
                    <a:lnTo>
                      <a:pt x="81808" y="299382"/>
                    </a:lnTo>
                    <a:cubicBezTo>
                      <a:pt x="84572" y="304166"/>
                      <a:pt x="89662" y="307107"/>
                      <a:pt x="95190" y="307107"/>
                    </a:cubicBezTo>
                    <a:lnTo>
                      <a:pt x="254661" y="307107"/>
                    </a:lnTo>
                    <a:cubicBezTo>
                      <a:pt x="260176" y="307107"/>
                      <a:pt x="265279" y="304166"/>
                      <a:pt x="268042" y="299382"/>
                    </a:cubicBezTo>
                    <a:lnTo>
                      <a:pt x="347778" y="161278"/>
                    </a:lnTo>
                    <a:cubicBezTo>
                      <a:pt x="350542" y="156494"/>
                      <a:pt x="350542" y="150612"/>
                      <a:pt x="347778" y="145829"/>
                    </a:cubicBezTo>
                    <a:lnTo>
                      <a:pt x="268019" y="7724"/>
                    </a:lnTo>
                    <a:cubicBezTo>
                      <a:pt x="265255" y="2941"/>
                      <a:pt x="260165" y="0"/>
                      <a:pt x="254637" y="0"/>
                    </a:cubicBezTo>
                    <a:close/>
                  </a:path>
                </a:pathLst>
              </a:custGeom>
              <a:grpFill/>
              <a:ln w="1160"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B44B1"/>
                  </a:solidFill>
                  <a:effectLst/>
                  <a:uLnTx/>
                  <a:uFillTx/>
                  <a:latin typeface="Segoe Sans Display"/>
                  <a:ea typeface="+mn-ea"/>
                  <a:cs typeface="+mn-cs"/>
                </a:endParaRPr>
              </a:p>
            </p:txBody>
          </p:sp>
        </p:grpSp>
      </p:grpSp>
      <p:sp>
        <p:nvSpPr>
          <p:cNvPr id="30" name="Rectangle 29">
            <a:extLst>
              <a:ext uri="{FF2B5EF4-FFF2-40B4-BE49-F238E27FC236}">
                <a16:creationId xmlns:a16="http://schemas.microsoft.com/office/drawing/2014/main" id="{67AF2676-C023-82D1-F453-8B38D053D970}"/>
              </a:ext>
            </a:extLst>
          </p:cNvPr>
          <p:cNvSpPr/>
          <p:nvPr/>
        </p:nvSpPr>
        <p:spPr bwMode="auto">
          <a:xfrm>
            <a:off x="2328400" y="1865886"/>
            <a:ext cx="1174994" cy="2331448"/>
          </a:xfrm>
          <a:prstGeom prst="rect">
            <a:avLst/>
          </a:prstGeom>
          <a:gradFill>
            <a:gsLst>
              <a:gs pos="66000">
                <a:srgbClr val="F6F6F6"/>
              </a:gs>
              <a:gs pos="22000">
                <a:srgbClr val="F6F6F6">
                  <a:alpha val="0"/>
                </a:srgbClr>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31" name="Rectangle 30">
            <a:extLst>
              <a:ext uri="{FF2B5EF4-FFF2-40B4-BE49-F238E27FC236}">
                <a16:creationId xmlns:a16="http://schemas.microsoft.com/office/drawing/2014/main" id="{9B0C4865-DF70-7D85-2EAD-6D11F633EF17}"/>
              </a:ext>
            </a:extLst>
          </p:cNvPr>
          <p:cNvSpPr/>
          <p:nvPr/>
        </p:nvSpPr>
        <p:spPr bwMode="auto">
          <a:xfrm rot="10800000">
            <a:off x="8598485" y="1865886"/>
            <a:ext cx="1174994" cy="2331448"/>
          </a:xfrm>
          <a:prstGeom prst="rect">
            <a:avLst/>
          </a:prstGeom>
          <a:gradFill>
            <a:gsLst>
              <a:gs pos="66000">
                <a:srgbClr val="F6F6F6"/>
              </a:gs>
              <a:gs pos="22000">
                <a:srgbClr val="F6F6F6">
                  <a:alpha val="0"/>
                </a:srgbClr>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99870192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
                                        <p:tgtEl>
                                          <p:spTgt spid="4"/>
                                        </p:tgtEl>
                                      </p:cBhvr>
                                    </p:animEffect>
                                  </p:childTnLst>
                                </p:cTn>
                              </p:par>
                              <p:par>
                                <p:cTn id="11" presetID="42" presetClass="path" presetSubtype="0" decel="100000" fill="hold" grpId="1" nodeType="withEffect">
                                  <p:stCondLst>
                                    <p:cond delay="0"/>
                                  </p:stCondLst>
                                  <p:childTnLst>
                                    <p:animMotion origin="layout" path="M 0 0.03889 L 0 -1.11111E-6 " pathEditMode="relative" rAng="0" ptsTypes="AA">
                                      <p:cBhvr>
                                        <p:cTn id="12" dur="500" fill="hold"/>
                                        <p:tgtEl>
                                          <p:spTgt spid="4"/>
                                        </p:tgtEl>
                                        <p:attrNameLst>
                                          <p:attrName>ppt_x</p:attrName>
                                          <p:attrName>ppt_y</p:attrName>
                                        </p:attrNameLst>
                                      </p:cBhvr>
                                      <p:rCtr x="0" y="-1944"/>
                                    </p:animMotion>
                                  </p:childTnLst>
                                </p:cTn>
                              </p:par>
                              <p:par>
                                <p:cTn id="13" presetID="10" presetClass="entr" presetSubtype="0" fill="hold" grpId="0" nodeType="withEffect">
                                  <p:stCondLst>
                                    <p:cond delay="1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00"/>
                                        <p:tgtEl>
                                          <p:spTgt spid="2"/>
                                        </p:tgtEl>
                                      </p:cBhvr>
                                    </p:animEffect>
                                  </p:childTnLst>
                                </p:cTn>
                              </p:par>
                              <p:par>
                                <p:cTn id="16" presetID="42" presetClass="path" presetSubtype="0" decel="100000" fill="hold" grpId="1" nodeType="withEffect">
                                  <p:stCondLst>
                                    <p:cond delay="100"/>
                                  </p:stCondLst>
                                  <p:childTnLst>
                                    <p:animMotion origin="layout" path="M 0 0.03889 L 0 0 " pathEditMode="relative" rAng="0" ptsTypes="AA">
                                      <p:cBhvr>
                                        <p:cTn id="17" dur="500" fill="hold"/>
                                        <p:tgtEl>
                                          <p:spTgt spid="2"/>
                                        </p:tgtEl>
                                        <p:attrNameLst>
                                          <p:attrName>ppt_x</p:attrName>
                                          <p:attrName>ppt_y</p:attrName>
                                        </p:attrNameLst>
                                      </p:cBhvr>
                                      <p:rCtr x="0" y="-1944"/>
                                    </p:animMotion>
                                  </p:childTnLst>
                                </p:cTn>
                              </p:par>
                              <p:par>
                                <p:cTn id="18" presetID="10" presetClass="entr" presetSubtype="0" fill="hold" grpId="0" nodeType="withEffect">
                                  <p:stCondLst>
                                    <p:cond delay="10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200"/>
                                        <p:tgtEl>
                                          <p:spTgt spid="3"/>
                                        </p:tgtEl>
                                      </p:cBhvr>
                                    </p:animEffect>
                                  </p:childTnLst>
                                </p:cTn>
                              </p:par>
                              <p:par>
                                <p:cTn id="21" presetID="42" presetClass="path" presetSubtype="0" decel="100000" fill="hold" grpId="1" nodeType="withEffect">
                                  <p:stCondLst>
                                    <p:cond delay="100"/>
                                  </p:stCondLst>
                                  <p:childTnLst>
                                    <p:animMotion origin="layout" path="M 0 0.03889 L 0 -1.11111E-6 " pathEditMode="relative" rAng="0" ptsTypes="AA">
                                      <p:cBhvr>
                                        <p:cTn id="22" dur="500" fill="hold"/>
                                        <p:tgtEl>
                                          <p:spTgt spid="3"/>
                                        </p:tgtEl>
                                        <p:attrNameLst>
                                          <p:attrName>ppt_x</p:attrName>
                                          <p:attrName>ppt_y</p:attrName>
                                        </p:attrNameLst>
                                      </p:cBhvr>
                                      <p:rCtr x="0" y="-1944"/>
                                    </p:animMotion>
                                  </p:childTnLst>
                                </p:cTn>
                              </p:par>
                              <p:par>
                                <p:cTn id="23" presetID="10" presetClass="entr" presetSubtype="0" fill="hold" grpId="0" nodeType="withEffect">
                                  <p:stCondLst>
                                    <p:cond delay="10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200"/>
                                        <p:tgtEl>
                                          <p:spTgt spid="30"/>
                                        </p:tgtEl>
                                      </p:cBhvr>
                                    </p:animEffect>
                                  </p:childTnLst>
                                </p:cTn>
                              </p:par>
                              <p:par>
                                <p:cTn id="26" presetID="42" presetClass="path" presetSubtype="0" decel="100000" fill="hold" grpId="1" nodeType="withEffect">
                                  <p:stCondLst>
                                    <p:cond delay="100"/>
                                  </p:stCondLst>
                                  <p:childTnLst>
                                    <p:animMotion origin="layout" path="M 0 0.03889 L 0 0 " pathEditMode="relative" rAng="0" ptsTypes="AA">
                                      <p:cBhvr>
                                        <p:cTn id="27" dur="500" fill="hold"/>
                                        <p:tgtEl>
                                          <p:spTgt spid="30"/>
                                        </p:tgtEl>
                                        <p:attrNameLst>
                                          <p:attrName>ppt_x</p:attrName>
                                          <p:attrName>ppt_y</p:attrName>
                                        </p:attrNameLst>
                                      </p:cBhvr>
                                      <p:rCtr x="0" y="-1944"/>
                                    </p:animMotion>
                                  </p:childTnLst>
                                </p:cTn>
                              </p:par>
                              <p:par>
                                <p:cTn id="28" presetID="10" presetClass="entr" presetSubtype="0" fill="hold" grpId="0" nodeType="withEffect">
                                  <p:stCondLst>
                                    <p:cond delay="10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200"/>
                                        <p:tgtEl>
                                          <p:spTgt spid="31"/>
                                        </p:tgtEl>
                                      </p:cBhvr>
                                    </p:animEffect>
                                  </p:childTnLst>
                                </p:cTn>
                              </p:par>
                              <p:par>
                                <p:cTn id="31" presetID="42" presetClass="path" presetSubtype="0" decel="100000" fill="hold" grpId="1" nodeType="withEffect">
                                  <p:stCondLst>
                                    <p:cond delay="100"/>
                                  </p:stCondLst>
                                  <p:childTnLst>
                                    <p:animMotion origin="layout" path="M 0 0.03889 L 0 0 " pathEditMode="relative" rAng="0" ptsTypes="AA">
                                      <p:cBhvr>
                                        <p:cTn id="32" dur="500" fill="hold"/>
                                        <p:tgtEl>
                                          <p:spTgt spid="31"/>
                                        </p:tgtEl>
                                        <p:attrNameLst>
                                          <p:attrName>ppt_x</p:attrName>
                                          <p:attrName>ppt_y</p:attrName>
                                        </p:attrNameLst>
                                      </p:cBhvr>
                                      <p:rCtr x="0" y="-1944"/>
                                    </p:animMotion>
                                  </p:childTnLst>
                                </p:cTn>
                              </p:par>
                              <p:par>
                                <p:cTn id="33" presetID="10" presetClass="entr" presetSubtype="0" fill="hold" nodeType="withEffect">
                                  <p:stCondLst>
                                    <p:cond delay="10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200"/>
                                        <p:tgtEl>
                                          <p:spTgt spid="32"/>
                                        </p:tgtEl>
                                      </p:cBhvr>
                                    </p:animEffect>
                                  </p:childTnLst>
                                </p:cTn>
                              </p:par>
                              <p:par>
                                <p:cTn id="36" presetID="42" presetClass="path" presetSubtype="0" decel="100000" fill="hold" nodeType="withEffect">
                                  <p:stCondLst>
                                    <p:cond delay="100"/>
                                  </p:stCondLst>
                                  <p:childTnLst>
                                    <p:animMotion origin="layout" path="M 0 0.03889 L 0 -2.96296E-6 " pathEditMode="relative" rAng="0" ptsTypes="AA">
                                      <p:cBhvr>
                                        <p:cTn id="37" dur="500" fill="hold"/>
                                        <p:tgtEl>
                                          <p:spTgt spid="32"/>
                                        </p:tgtEl>
                                        <p:attrNameLst>
                                          <p:attrName>ppt_x</p:attrName>
                                          <p:attrName>ppt_y</p:attrName>
                                        </p:attrNameLst>
                                      </p:cBhvr>
                                      <p:rCtr x="0" y="-1944"/>
                                    </p:animMotion>
                                  </p:childTnLst>
                                </p:cTn>
                              </p:par>
                              <p:par>
                                <p:cTn id="38" presetID="10" presetClass="entr" presetSubtype="0" fill="hold" nodeType="withEffect">
                                  <p:stCondLst>
                                    <p:cond delay="10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200"/>
                                        <p:tgtEl>
                                          <p:spTgt spid="34"/>
                                        </p:tgtEl>
                                      </p:cBhvr>
                                    </p:animEffect>
                                  </p:childTnLst>
                                </p:cTn>
                              </p:par>
                              <p:par>
                                <p:cTn id="41" presetID="42" presetClass="path" presetSubtype="0" decel="100000" fill="hold" nodeType="withEffect">
                                  <p:stCondLst>
                                    <p:cond delay="100"/>
                                  </p:stCondLst>
                                  <p:childTnLst>
                                    <p:animMotion origin="layout" path="M 4.58333E-6 0.03889 L 4.58333E-6 -7.40741E-7 " pathEditMode="relative" rAng="0" ptsTypes="AA">
                                      <p:cBhvr>
                                        <p:cTn id="42" dur="500" fill="hold"/>
                                        <p:tgtEl>
                                          <p:spTgt spid="34"/>
                                        </p:tgtEl>
                                        <p:attrNameLst>
                                          <p:attrName>ppt_x</p:attrName>
                                          <p:attrName>ppt_y</p:attrName>
                                        </p:attrNameLst>
                                      </p:cBhvr>
                                      <p:rCtr x="0" y="-1944"/>
                                    </p:animMotion>
                                  </p:childTnLst>
                                </p:cTn>
                              </p:par>
                              <p:par>
                                <p:cTn id="43" presetID="10" presetClass="entr" presetSubtype="0" fill="hold" grpId="0" nodeType="withEffect">
                                  <p:stCondLst>
                                    <p:cond delay="10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200"/>
                                        <p:tgtEl>
                                          <p:spTgt spid="9"/>
                                        </p:tgtEl>
                                      </p:cBhvr>
                                    </p:animEffect>
                                  </p:childTnLst>
                                </p:cTn>
                              </p:par>
                              <p:par>
                                <p:cTn id="46" presetID="42" presetClass="path" presetSubtype="0" decel="100000" fill="hold" grpId="1" nodeType="withEffect">
                                  <p:stCondLst>
                                    <p:cond delay="100"/>
                                  </p:stCondLst>
                                  <p:childTnLst>
                                    <p:animMotion origin="layout" path="M 0 0.03889 L 0 -1.48148E-6 " pathEditMode="relative" rAng="0" ptsTypes="AA">
                                      <p:cBhvr>
                                        <p:cTn id="47" dur="500" fill="hold"/>
                                        <p:tgtEl>
                                          <p:spTgt spid="9"/>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9" grpId="0" animBg="1"/>
      <p:bldP spid="9" grpId="1" animBg="1"/>
      <p:bldP spid="2" grpId="0" animBg="1"/>
      <p:bldP spid="2" grpId="1" animBg="1"/>
      <p:bldP spid="4" grpId="0" animBg="1"/>
      <p:bldP spid="4" grpId="1" animBg="1"/>
      <p:bldP spid="33" grpId="0" animBg="1"/>
      <p:bldP spid="30" grpId="0" animBg="1"/>
      <p:bldP spid="30" grpId="1" animBg="1"/>
      <p:bldP spid="31" grpId="0" animBg="1"/>
      <p:bldP spid="31"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MARTNOTES-DATA-SMARTSLIDE" val="{&quot;Animations&quot;:[],&quot;HasNotesSynced&quot;:false,&quot;Id&quot;:332,&quot;Index&quot;:56,&quot;IsHidden&quot;:false,&quot;Name&quot;:&quot;Slide77&quot;,&quot;SmartNote&quot;:{&quot;NoteText&quot;:&quot;&lt;Section xmlns=\&quot;http://schemas.microsoft.com/winfx/2006/xaml/presentation\&quot; xml:space=\&quot;preserve\&quot; TextAlignment=\&quot;Justify\&quot; LineHeight=\&quot;Auto\&quot; IsHyphenationEnabled=\&quot;False\&quot; xml:lang=\&quot;en-us\&quot; FlowDirection=\&quot;LeftToRight\&quot; NumberSubstitution.CultureSource=\&quot;Text\&quot; NumberSubstitution.Substitution=\&quot;AsCulture\&quot; FontFamily=\&quot;Georgia\&quot; FontStyle=\&quot;Normal\&quot; FontWeight=\&quot;Normal\&quot; FontStretch=\&quot;Normal\&quot; FontSize=\&quot;16\&quot; Foreground=\&quot;#FF000000\&quot; Typography.StandardLigatures=\&quot;True\&quot; Typography.ContextualLigatures=\&quot;True\&quot; Typography.DiscretionaryLigatures=\&quot;False\&quot; Typography.HistoricalLigatures=\&quot;False\&quot; Typography.AnnotationAlternates=\&quot;0\&quot; Typography.ContextualAlternates=\&quot;True\&quot; Typography.HistoricalForms=\&quot;False\&quot; Typography.Kerning=\&quot;True\&quot; Typography.CapitalSpacing=\&quot;False\&quot; Typography.CaseSensitiveForms=\&quot;False\&quot; Typography.StylisticSet1=\&quot;False\&quot; Typography.StylisticSet2=\&quot;False\&quot; Typography.StylisticSet3=\&quot;False\&quot; Typography.StylisticSet4=\&quot;False\&quot; Typography.StylisticSet5=\&quot;False\&quot; Typography.StylisticSet6=\&quot;False\&quot; Typography.StylisticSet7=\&quot;False\&quot; Typography.StylisticSet8=\&quot;False\&quot; Typography.StylisticSet9=\&quot;False\&quot; Typography.StylisticSet10=\&quot;False\&quot; Typography.StylisticSet11=\&quot;False\&quot; Typography.StylisticSet12=\&quot;False\&quot; Typography.StylisticSet13=\&quot;False\&quot; Typography.StylisticSet14=\&quot;False\&quot; Typography.StylisticSet15=\&quot;False\&quot; Typography.StylisticSet16=\&quot;False\&quot; Typography.StylisticSet17=\&quot;False\&quot; Typography.StylisticSet18=\&quot;False\&quot; Typography.StylisticSet19=\&quot;False\&quot; Typography.StylisticSet20=\&quot;False\&quot; Typography.Fraction=\&quot;Normal\&quot; Typography.SlashedZero=\&quot;False\&quot; Typography.MathematicalGreek=\&quot;False\&quot; Typography.EastAsianExpertForms=\&quot;False\&quot; Typography.Variants=\&quot;Normal\&quot; Typography.Capitals=\&quot;Normal\&quot; Typography.NumeralStyle=\&quot;Normal\&quot; Typography.NumeralAlignment=\&quot;Normal\&quot; Typography.EastAsianWidths=\&quot;Normal\&quot; Typography.EastAsianLanguage=\&quot;Normal\&quot; Typography.StandardSwashes=\&quot;0\&quot; Typography.ContextualSwashes=\&quot;0\&quot; Typography.StylisticAlternates=\&quot;0\&quot;&gt;&lt;Paragraph TextAlignment=\&quot;Left\&quot;&gt;&lt;Run FontFamily=\&quot;Calibri\&quot; FontSize=\&quot;21.333333333333332\&quot; Foreground=\&quot;#FFFFFFFF\&quot;&gt;&lt;/Run&gt;&lt;/Paragraph&gt;&lt;/Section&gt;&quot;,&quot;ParentSlideId&quot;:2147483638,&quot;PagesHistory&quot;:[{&quot;Id&quot;:1,&quot;Index&quot;:0,&quot;TriggerType&quot;:2,&quot;HasChildren&quot;:false}],&quot;Pages&quot;:[{&quot;Id&quot;:1,&quot;Index&quot;:0,&quot;TriggerType&quot;:2,&quot;HasChildren&quot;:false}]}}"/>
</p:tagLst>
</file>

<file path=ppt/tags/tag3.xml><?xml version="1.0" encoding="utf-8"?>
<p:tagLst xmlns:a="http://schemas.openxmlformats.org/drawingml/2006/main" xmlns:r="http://schemas.openxmlformats.org/officeDocument/2006/relationships" xmlns:p="http://schemas.openxmlformats.org/presentationml/2006/main">
  <p:tag name="SMARTNOTES-DATA-SMARTSLIDE" val="{&quot;Animations&quot;:[],&quot;HasNotesSynced&quot;:false,&quot;Id&quot;:332,&quot;Index&quot;:56,&quot;IsHidden&quot;:false,&quot;Name&quot;:&quot;Slide77&quot;,&quot;SmartNote&quot;:{&quot;NoteText&quot;:&quot;&lt;Section xmlns=\&quot;http://schemas.microsoft.com/winfx/2006/xaml/presentation\&quot; xml:space=\&quot;preserve\&quot; TextAlignment=\&quot;Justify\&quot; LineHeight=\&quot;Auto\&quot; IsHyphenationEnabled=\&quot;False\&quot; xml:lang=\&quot;en-us\&quot; FlowDirection=\&quot;LeftToRight\&quot; NumberSubstitution.CultureSource=\&quot;Text\&quot; NumberSubstitution.Substitution=\&quot;AsCulture\&quot; FontFamily=\&quot;Georgia\&quot; FontStyle=\&quot;Normal\&quot; FontWeight=\&quot;Normal\&quot; FontStretch=\&quot;Normal\&quot; FontSize=\&quot;16\&quot; Foreground=\&quot;#FF000000\&quot; Typography.StandardLigatures=\&quot;True\&quot; Typography.ContextualLigatures=\&quot;True\&quot; Typography.DiscretionaryLigatures=\&quot;False\&quot; Typography.HistoricalLigatures=\&quot;False\&quot; Typography.AnnotationAlternates=\&quot;0\&quot; Typography.ContextualAlternates=\&quot;True\&quot; Typography.HistoricalForms=\&quot;False\&quot; Typography.Kerning=\&quot;True\&quot; Typography.CapitalSpacing=\&quot;False\&quot; Typography.CaseSensitiveForms=\&quot;False\&quot; Typography.StylisticSet1=\&quot;False\&quot; Typography.StylisticSet2=\&quot;False\&quot; Typography.StylisticSet3=\&quot;False\&quot; Typography.StylisticSet4=\&quot;False\&quot; Typography.StylisticSet5=\&quot;False\&quot; Typography.StylisticSet6=\&quot;False\&quot; Typography.StylisticSet7=\&quot;False\&quot; Typography.StylisticSet8=\&quot;False\&quot; Typography.StylisticSet9=\&quot;False\&quot; Typography.StylisticSet10=\&quot;False\&quot; Typography.StylisticSet11=\&quot;False\&quot; Typography.StylisticSet12=\&quot;False\&quot; Typography.StylisticSet13=\&quot;False\&quot; Typography.StylisticSet14=\&quot;False\&quot; Typography.StylisticSet15=\&quot;False\&quot; Typography.StylisticSet16=\&quot;False\&quot; Typography.StylisticSet17=\&quot;False\&quot; Typography.StylisticSet18=\&quot;False\&quot; Typography.StylisticSet19=\&quot;False\&quot; Typography.StylisticSet20=\&quot;False\&quot; Typography.Fraction=\&quot;Normal\&quot; Typography.SlashedZero=\&quot;False\&quot; Typography.MathematicalGreek=\&quot;False\&quot; Typography.EastAsianExpertForms=\&quot;False\&quot; Typography.Variants=\&quot;Normal\&quot; Typography.Capitals=\&quot;Normal\&quot; Typography.NumeralStyle=\&quot;Normal\&quot; Typography.NumeralAlignment=\&quot;Normal\&quot; Typography.EastAsianWidths=\&quot;Normal\&quot; Typography.EastAsianLanguage=\&quot;Normal\&quot; Typography.StandardSwashes=\&quot;0\&quot; Typography.ContextualSwashes=\&quot;0\&quot; Typography.StylisticAlternates=\&quot;0\&quot;&gt;&lt;Paragraph TextAlignment=\&quot;Left\&quot;&gt;&lt;Run FontFamily=\&quot;Calibri\&quot; FontSize=\&quot;21.333333333333332\&quot; Foreground=\&quot;#FFFFFFFF\&quot;&gt;&lt;/Run&gt;&lt;/Paragraph&gt;&lt;/Section&gt;&quot;,&quot;ParentSlideId&quot;:2147483638,&quot;PagesHistory&quot;:[{&quot;Id&quot;:1,&quot;Index&quot;:0,&quot;TriggerType&quot;:2,&quot;HasChildren&quot;:false}],&quot;Pages&quot;:[{&quot;Id&quot;:1,&quot;Index&quot;:0,&quot;TriggerType&quot;:2,&quot;HasChildren&quot;:false}]}}"/>
</p:tagLst>
</file>

<file path=ppt/theme/theme1.xml><?xml version="1.0" encoding="utf-8"?>
<a:theme xmlns:a="http://schemas.openxmlformats.org/drawingml/2006/main" name="MASTER - Data and AI">
  <a:themeElements>
    <a:clrScheme name="Data &amp; AI Day - Light">
      <a:dk1>
        <a:srgbClr val="080808"/>
      </a:dk1>
      <a:lt1>
        <a:srgbClr val="FFFFFF"/>
      </a:lt1>
      <a:dk2>
        <a:srgbClr val="243A5E"/>
      </a:dk2>
      <a:lt2>
        <a:srgbClr val="E6E6E6"/>
      </a:lt2>
      <a:accent1>
        <a:srgbClr val="0078D4"/>
      </a:accent1>
      <a:accent2>
        <a:srgbClr val="2A446F"/>
      </a:accent2>
      <a:accent3>
        <a:srgbClr val="C03BC4"/>
      </a:accent3>
      <a:accent4>
        <a:srgbClr val="FFB900"/>
      </a:accent4>
      <a:accent5>
        <a:srgbClr val="FF9349"/>
      </a:accent5>
      <a:accent6>
        <a:srgbClr val="9BF00B"/>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opilot VBDs Template" id="{61528D5A-2FD0-4FC3-8718-710F3DE4EC70}" vid="{70D162E2-BF70-4265-B124-180867F6C5CF}"/>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MASTER - Data and AI">
  <a:themeElements>
    <a:clrScheme name="Data &amp; AI Day - Light">
      <a:dk1>
        <a:srgbClr val="080808"/>
      </a:dk1>
      <a:lt1>
        <a:srgbClr val="FFFFFF"/>
      </a:lt1>
      <a:dk2>
        <a:srgbClr val="243A5E"/>
      </a:dk2>
      <a:lt2>
        <a:srgbClr val="E6E6E6"/>
      </a:lt2>
      <a:accent1>
        <a:srgbClr val="0078D4"/>
      </a:accent1>
      <a:accent2>
        <a:srgbClr val="2A446F"/>
      </a:accent2>
      <a:accent3>
        <a:srgbClr val="C03BC4"/>
      </a:accent3>
      <a:accent4>
        <a:srgbClr val="FFB900"/>
      </a:accent4>
      <a:accent5>
        <a:srgbClr val="FF9349"/>
      </a:accent5>
      <a:accent6>
        <a:srgbClr val="9BF00B"/>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41CCA53D-B460-4B1C-BA96-5C805463CB5A}" vid="{90BF9D22-BCF9-4590-811A-E823EC0C854B}"/>
    </a:ext>
  </a:extLst>
</a:theme>
</file>

<file path=ppt/theme/theme3.xml><?xml version="1.0" encoding="utf-8"?>
<a:theme xmlns:a="http://schemas.openxmlformats.org/drawingml/2006/main" name="3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4.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5.xml><?xml version="1.0" encoding="utf-8"?>
<a:theme xmlns:a="http://schemas.openxmlformats.org/drawingml/2006/main" name="3_Updated Copilot Theme_010524">
  <a:themeElements>
    <a:clrScheme name="Copilot - 12/23">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8661C5"/>
      </a:hlink>
      <a:folHlink>
        <a:srgbClr val="8661C5"/>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pdated Copilot Theme_010524" id="{69AC8C09-3441-437D-B814-A5AD62159AFF}" vid="{F9173944-3179-464E-8E53-E39D2E2B504A}"/>
    </a:ext>
  </a:extLst>
</a:theme>
</file>

<file path=ppt/theme/theme6.xml><?xml version="1.0" encoding="utf-8"?>
<a:theme xmlns:a="http://schemas.openxmlformats.org/drawingml/2006/main" name="2_Modern Work + Purview">
  <a:themeElements>
    <a:clrScheme name="Viva analogous 3">
      <a:dk1>
        <a:srgbClr val="000000"/>
      </a:dk1>
      <a:lt1>
        <a:srgbClr val="FFFFFF"/>
      </a:lt1>
      <a:dk2>
        <a:srgbClr val="2F2F2F"/>
      </a:dk2>
      <a:lt2>
        <a:srgbClr val="E6E6E6"/>
      </a:lt2>
      <a:accent1>
        <a:srgbClr val="0078D4"/>
      </a:accent1>
      <a:accent2>
        <a:srgbClr val="243A5E"/>
      </a:accent2>
      <a:accent3>
        <a:srgbClr val="50E6FF"/>
      </a:accent3>
      <a:accent4>
        <a:srgbClr val="8661C5"/>
      </a:accent4>
      <a:accent5>
        <a:srgbClr val="3B2E58"/>
      </a:accent5>
      <a:accent6>
        <a:srgbClr val="D59D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Viva2022-Topics-Template(01).potx" id="{66CD1B14-D672-4DD3-93DF-E33194FF7E00}" vid="{C8138CC8-76A8-4E05-97A6-0CE3F4597308}"/>
    </a:ext>
  </a:extLst>
</a:theme>
</file>

<file path=ppt/theme/theme7.xml><?xml version="1.0" encoding="utf-8"?>
<a:theme xmlns:a="http://schemas.openxmlformats.org/drawingml/2006/main" name="Power Platform Template">
  <a:themeElements>
    <a:clrScheme name="Power Platform">
      <a:dk1>
        <a:srgbClr val="000000"/>
      </a:dk1>
      <a:lt1>
        <a:srgbClr val="FFFFFF"/>
      </a:lt1>
      <a:dk2>
        <a:srgbClr val="225B62"/>
      </a:dk2>
      <a:lt2>
        <a:srgbClr val="49C5B1"/>
      </a:lt2>
      <a:accent1>
        <a:srgbClr val="8DE971"/>
      </a:accent1>
      <a:accent2>
        <a:srgbClr val="D4EC8E"/>
      </a:accent2>
      <a:accent3>
        <a:srgbClr val="702573"/>
      </a:accent3>
      <a:accent4>
        <a:srgbClr val="2A446F"/>
      </a:accent4>
      <a:accent5>
        <a:srgbClr val="73262F"/>
      </a:accent5>
      <a:accent6>
        <a:srgbClr val="14938C"/>
      </a:accent6>
      <a:hlink>
        <a:srgbClr val="0078D4"/>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A38B"/>
    </a:custClr>
    <a:custClr name="Light Red">
      <a:srgbClr val="FF5C39"/>
    </a:custClr>
    <a:custClr name="Red">
      <a:srgbClr val="F4364C"/>
    </a:custClr>
    <a:custClr name="Dark Red">
      <a:srgbClr val="73262F"/>
    </a:custClr>
    <a:custClr name="Light Purple">
      <a:srgbClr val="C5B4E3"/>
    </a:custClr>
    <a:custClr name="Light Violet">
      <a:srgbClr val="D59ED7"/>
    </a:custClr>
    <a:custClr name="Red Violet">
      <a:srgbClr val="C03BC4"/>
    </a:custClr>
    <a:custClr name="Dark Violet">
      <a:srgbClr val="702573"/>
    </a:custClr>
    <a:custClr name="Light Teal">
      <a:srgbClr val="B9DCD2"/>
    </a:custClr>
    <a:custClr name="Light Blue">
      <a:srgbClr val="8DC8E8"/>
    </a:custClr>
    <a:custClr name="Brilliant Blue">
      <a:srgbClr val="0078D4"/>
    </a:custClr>
    <a:custClr name="Dark Blue">
      <a:srgbClr val="2A446F"/>
    </a:custClr>
    <a:custClr name="Light Green">
      <a:srgbClr val="D4EC8E"/>
    </a:custClr>
    <a:custClr name="Green">
      <a:srgbClr val="8DE971"/>
    </a:custClr>
    <a:custClr name="Biscay Green">
      <a:srgbClr val="49C5B1"/>
    </a:custClr>
    <a:custClr name="Dark Teal">
      <a:srgbClr val="225B62"/>
    </a:custClr>
    <a:custClr name="Pure White">
      <a:srgbClr val="FFFFFF"/>
    </a:custClr>
    <a:custClr name="Off White">
      <a:srgbClr val="F4F3F5"/>
    </a:custClr>
    <a:custClr name="Extra Light Gray">
      <a:srgbClr val="F2F2F2"/>
    </a:custClr>
    <a:custClr name="Pure Black">
      <a:srgbClr val="000000"/>
    </a:custClr>
  </a:custClrLst>
  <a:extLst>
    <a:ext uri="{05A4C25C-085E-4340-85A3-A5531E510DB2}">
      <thm15:themeFamily xmlns:thm15="http://schemas.microsoft.com/office/thememl/2012/main" name="Presentation1" id="{652C1184-2488-449E-A844-5E413F9B44B9}" vid="{6D0986AC-F46A-4ED2-8B22-83492290F949}"/>
    </a:ext>
  </a:extLst>
</a:theme>
</file>

<file path=ppt/theme/theme8.xml><?xml version="1.0" encoding="utf-8"?>
<a:theme xmlns:a="http://schemas.openxmlformats.org/drawingml/2006/main" name="Customer Hub Template">
  <a:themeElements>
    <a:clrScheme name="Customer Hub">
      <a:dk1>
        <a:srgbClr val="091F2C"/>
      </a:dk1>
      <a:lt1>
        <a:sysClr val="window" lastClr="FFFFFF"/>
      </a:lt1>
      <a:dk2>
        <a:srgbClr val="091F2C"/>
      </a:dk2>
      <a:lt2>
        <a:srgbClr val="EFF8FF"/>
      </a:lt2>
      <a:accent1>
        <a:srgbClr val="8DC8E8"/>
      </a:accent1>
      <a:accent2>
        <a:srgbClr val="0078D4"/>
      </a:accent2>
      <a:accent3>
        <a:srgbClr val="D59ED7"/>
      </a:accent3>
      <a:accent4>
        <a:srgbClr val="C03BC4"/>
      </a:accent4>
      <a:accent5>
        <a:srgbClr val="FFA38B"/>
      </a:accent5>
      <a:accent6>
        <a:srgbClr val="702573"/>
      </a:accent6>
      <a:hlink>
        <a:srgbClr val="006ECC"/>
      </a:hlink>
      <a:folHlink>
        <a:srgbClr val="3399F0"/>
      </a:folHlink>
    </a:clrScheme>
    <a:fontScheme name="Customer Hub">
      <a:majorFont>
        <a:latin typeface="Segoe Sans Display"/>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9.xml><?xml version="1.0" encoding="utf-8"?>
<a:theme xmlns:a="http://schemas.openxmlformats.org/drawingml/2006/main" name="1_Microsoft 365 Copilot Template">
  <a:themeElements>
    <a:clrScheme name="Custom 1">
      <a:dk1>
        <a:srgbClr val="1B44B1"/>
      </a:dk1>
      <a:lt1>
        <a:srgbClr val="FFFFFF"/>
      </a:lt1>
      <a:dk2>
        <a:srgbClr val="002060"/>
      </a:dk2>
      <a:lt2>
        <a:srgbClr val="BABAFF"/>
      </a:lt2>
      <a:accent1>
        <a:srgbClr val="2764E7"/>
      </a:accent1>
      <a:accent2>
        <a:srgbClr val="4894FE"/>
      </a:accent2>
      <a:accent3>
        <a:srgbClr val="58AAFE"/>
      </a:accent3>
      <a:accent4>
        <a:srgbClr val="BABAFF"/>
      </a:accent4>
      <a:accent5>
        <a:srgbClr val="FECBE6"/>
      </a:accent5>
      <a:accent6>
        <a:srgbClr val="EEAD4F"/>
      </a:accent6>
      <a:hlink>
        <a:srgbClr val="C7899E"/>
      </a:hlink>
      <a:folHlink>
        <a:srgbClr val="5B5DCA"/>
      </a:folHlink>
    </a:clrScheme>
    <a:fontScheme name="Custom 1">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2510" id="{3922BC85-CB2F-864B-9D9B-AAD4CDB07101}" vid="{1550D336-59B9-064F-AD86-29A8E818E80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6A9F9EAAB9A56428C69CC7A1D2C69E6" ma:contentTypeVersion="10" ma:contentTypeDescription="Create a new document." ma:contentTypeScope="" ma:versionID="e1dd8423823b9e7d059a1e87baee42f1">
  <xsd:schema xmlns:xsd="http://www.w3.org/2001/XMLSchema" xmlns:xs="http://www.w3.org/2001/XMLSchema" xmlns:p="http://schemas.microsoft.com/office/2006/metadata/properties" xmlns:ns1="http://schemas.microsoft.com/sharepoint/v3" xmlns:ns2="d317ae21-d9c9-4f6c-aca3-dfb383fb72e8" targetNamespace="http://schemas.microsoft.com/office/2006/metadata/properties" ma:root="true" ma:fieldsID="3cf89d9e6272cd9f654c433a4e44328d" ns1:_="" ns2:_="">
    <xsd:import namespace="http://schemas.microsoft.com/sharepoint/v3"/>
    <xsd:import namespace="d317ae21-d9c9-4f6c-aca3-dfb383fb72e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1:_ip_UnifiedCompliancePolicyProperties" minOccurs="0"/>
                <xsd:element ref="ns1:_ip_UnifiedCompliancePolicyUIAction"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17ae21-d9c9-4f6c-aca3-dfb383fb72e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7BB818-448F-4632-9ED7-BDBD1486B073}">
  <ds:schemaRefs>
    <ds:schemaRef ds:uri="f1e58268-e045-497e-ae55-bb424939882f"/>
    <ds:schemaRef ds:uri="f66b5aea-f20d-4f62-b094-ceac64e081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2B80486-BC67-4CE6-A5A2-E5DB531114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317ae21-d9c9-4f6c-aca3-dfb383fb72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D912C0B-6026-477E-8915-66A8A2409FD9}">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49</TotalTime>
  <Words>1595</Words>
  <Application>Microsoft Office PowerPoint</Application>
  <PresentationFormat>Widescreen</PresentationFormat>
  <Paragraphs>159</Paragraphs>
  <Slides>15</Slides>
  <Notes>14</Notes>
  <HiddenSlides>0</HiddenSlides>
  <MMClips>0</MMClips>
  <ScaleCrop>false</ScaleCrop>
  <HeadingPairs>
    <vt:vector size="8" baseType="variant">
      <vt:variant>
        <vt:lpstr>Fonts Used</vt:lpstr>
      </vt:variant>
      <vt:variant>
        <vt:i4>14</vt:i4>
      </vt:variant>
      <vt:variant>
        <vt:lpstr>Theme</vt:lpstr>
      </vt:variant>
      <vt:variant>
        <vt:i4>9</vt:i4>
      </vt:variant>
      <vt:variant>
        <vt:lpstr>Embedded OLE Servers</vt:lpstr>
      </vt:variant>
      <vt:variant>
        <vt:i4>1</vt:i4>
      </vt:variant>
      <vt:variant>
        <vt:lpstr>Slide Titles</vt:lpstr>
      </vt:variant>
      <vt:variant>
        <vt:i4>15</vt:i4>
      </vt:variant>
    </vt:vector>
  </HeadingPairs>
  <TitlesOfParts>
    <vt:vector size="39" baseType="lpstr">
      <vt:lpstr>Aptos</vt:lpstr>
      <vt:lpstr>Arial</vt:lpstr>
      <vt:lpstr>Arial Black</vt:lpstr>
      <vt:lpstr>Calibri</vt:lpstr>
      <vt:lpstr>Segoe Sans Display</vt:lpstr>
      <vt:lpstr>Segoe Sans Display </vt:lpstr>
      <vt:lpstr>Segoe Sans Display Semibold</vt:lpstr>
      <vt:lpstr>Segoe Sans Text</vt:lpstr>
      <vt:lpstr>Segoe UI</vt:lpstr>
      <vt:lpstr>Segoe UI Semibold</vt:lpstr>
      <vt:lpstr>Segoe UI Semilight</vt:lpstr>
      <vt:lpstr>Segoe UI Variable Display Semib</vt:lpstr>
      <vt:lpstr>Segoe UI Variable Display Semibold</vt:lpstr>
      <vt:lpstr>Wingdings</vt:lpstr>
      <vt:lpstr>MASTER - Data and AI</vt:lpstr>
      <vt:lpstr>1_MASTER - Data and AI</vt:lpstr>
      <vt:lpstr>3_White Template</vt:lpstr>
      <vt:lpstr>Microsoft 365 Copilot Template</vt:lpstr>
      <vt:lpstr>3_Updated Copilot Theme_010524</vt:lpstr>
      <vt:lpstr>2_Modern Work + Purview</vt:lpstr>
      <vt:lpstr>Power Platform Template</vt:lpstr>
      <vt:lpstr>Customer Hub Template</vt:lpstr>
      <vt:lpstr>1_Microsoft 365 Copilot Template</vt:lpstr>
      <vt:lpstr>think-cell Slide</vt:lpstr>
      <vt:lpstr>Microsoft Booking </vt:lpstr>
      <vt:lpstr>PowerPoint Presentation</vt:lpstr>
      <vt:lpstr>Bookings Overview</vt:lpstr>
      <vt:lpstr>Agent Controls Model</vt:lpstr>
      <vt:lpstr>Agents security, governance, and operations</vt:lpstr>
      <vt:lpstr>PowerPoint Presentation</vt:lpstr>
      <vt:lpstr>Agent 365 – Frontier Preview</vt:lpstr>
      <vt:lpstr>PowerPoint Presentation</vt:lpstr>
      <vt:lpstr>PowerPoint Presentation</vt:lpstr>
      <vt:lpstr>PowerPoint Presentation</vt:lpstr>
      <vt:lpstr>PowerPoint Presentation</vt:lpstr>
      <vt:lpstr>Data Loss Prevention – Connector endpoints (preview)</vt:lpstr>
      <vt:lpstr>Review credit capacity and consumption in PPAC</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set Title</dc:title>
  <dc:creator>Iman Boukly</dc:creator>
  <cp:lastModifiedBy>Sayed Ali</cp:lastModifiedBy>
  <cp:revision>2</cp:revision>
  <dcterms:created xsi:type="dcterms:W3CDTF">2024-03-06T18:33:56Z</dcterms:created>
  <dcterms:modified xsi:type="dcterms:W3CDTF">2026-01-18T16:3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A9F9EAAB9A56428C69CC7A1D2C69E6</vt:lpwstr>
  </property>
  <property fmtid="{D5CDD505-2E9C-101B-9397-08002B2CF9AE}" pid="3" name="MediaServiceImageTags">
    <vt:lpwstr/>
  </property>
  <property fmtid="{D5CDD505-2E9C-101B-9397-08002B2CF9AE}" pid="4" name="Order">
    <vt:lpwstr>14900.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xd_Signature">
    <vt:lpwstr/>
  </property>
  <property fmtid="{D5CDD505-2E9C-101B-9397-08002B2CF9AE}" pid="10" name="TriggerFlowInfo">
    <vt:lpwstr/>
  </property>
</Properties>
</file>